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717" r:id="rId2"/>
    <p:sldId id="709" r:id="rId3"/>
    <p:sldId id="716" r:id="rId4"/>
    <p:sldId id="710" r:id="rId5"/>
    <p:sldId id="714" r:id="rId6"/>
    <p:sldId id="718" r:id="rId7"/>
    <p:sldId id="720" r:id="rId8"/>
    <p:sldId id="719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2D2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3" autoAdjust="0"/>
    <p:restoredTop sz="94660"/>
  </p:normalViewPr>
  <p:slideViewPr>
    <p:cSldViewPr snapToGrid="0">
      <p:cViewPr>
        <p:scale>
          <a:sx n="100" d="100"/>
          <a:sy n="100" d="100"/>
        </p:scale>
        <p:origin x="-63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344" y="5237044"/>
            <a:ext cx="4320657" cy="159346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746027"/>
            <a:ext cx="8964185" cy="914360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4" spc="-49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669927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355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742661"/>
            <a:ext cx="11653523" cy="914360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4" spc="-98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0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82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48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337045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010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8619"/>
            <a:ext cx="12162611" cy="44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31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340936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1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340936"/>
            <a:ext cx="11655078" cy="2263268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7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4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0935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Clr>
                <a:srgbClr val="002050"/>
              </a:buClr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Clr>
                <a:srgbClr val="002050"/>
              </a:buClr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0936"/>
            <a:ext cx="5378548" cy="2414153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36145" indent="-336145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0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68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1" y="1514550"/>
            <a:ext cx="12191135" cy="534345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 anchor="ctr">
            <a:spAutoFit/>
          </a:bodyPr>
          <a:lstStyle>
            <a:lvl1pPr>
              <a:defRPr sz="3921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186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1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1" y="1"/>
            <a:ext cx="12191135" cy="1514550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537931"/>
            <a:ext cx="10295766" cy="724246"/>
          </a:xfrm>
        </p:spPr>
        <p:txBody>
          <a:bodyPr anchor="ctr">
            <a:spAutoFit/>
          </a:bodyPr>
          <a:lstStyle>
            <a:lvl1pPr>
              <a:defRPr sz="3921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977172"/>
            <a:ext cx="11331390" cy="2206939"/>
          </a:xfrm>
        </p:spPr>
        <p:txBody>
          <a:bodyPr/>
          <a:lstStyle>
            <a:lvl1pPr marL="0" indent="0">
              <a:spcBef>
                <a:spcPts val="3529"/>
              </a:spcBef>
              <a:spcAft>
                <a:spcPts val="196"/>
              </a:spcAft>
              <a:buSzPct val="85000"/>
              <a:buFontTx/>
              <a:buNone/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314" indent="-280121">
              <a:buClr>
                <a:srgbClr val="002050"/>
              </a:buClr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475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571" indent="-224097" defTabSz="955523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579" indent="-224097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70116" y="575151"/>
            <a:ext cx="530515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509" y="6373393"/>
            <a:ext cx="4789492" cy="40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46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44127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0936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1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fasterthan20.com/workout/smart-goals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5DB7720-4503-4324-909F-B945DA6C7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2" y="2009294"/>
            <a:ext cx="8964185" cy="1651093"/>
          </a:xfrm>
        </p:spPr>
        <p:txBody>
          <a:bodyPr/>
          <a:lstStyle/>
          <a:p>
            <a:r>
              <a:rPr lang="en-US" dirty="0"/>
              <a:t>Azure – Customer Success Framework for Partner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3A702B4-2374-4C21-8230-C7301396BE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ample </a:t>
            </a:r>
            <a:r>
              <a:rPr lang="de-DE" dirty="0" err="1"/>
              <a:t>Slid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505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8D41CBA-AA61-45BA-A3D1-1D57B0706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742759"/>
            <a:ext cx="11653523" cy="914231"/>
          </a:xfrm>
        </p:spPr>
        <p:txBody>
          <a:bodyPr/>
          <a:lstStyle/>
          <a:p>
            <a:r>
              <a:rPr lang="en-US" dirty="0"/>
              <a:t>commitment on the goals 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45E90F4-DAF5-4315-A017-5013917FFDD9}"/>
              </a:ext>
            </a:extLst>
          </p:cNvPr>
          <p:cNvGrpSpPr/>
          <p:nvPr/>
        </p:nvGrpSpPr>
        <p:grpSpPr>
          <a:xfrm>
            <a:off x="403769" y="3746702"/>
            <a:ext cx="1348022" cy="876214"/>
            <a:chOff x="3609750" y="1476400"/>
            <a:chExt cx="1375053" cy="893784"/>
          </a:xfrm>
        </p:grpSpPr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7C47D00E-937C-4CDC-A80F-8539F2CC5207}"/>
                </a:ext>
              </a:extLst>
            </p:cNvPr>
            <p:cNvSpPr/>
            <p:nvPr/>
          </p:nvSpPr>
          <p:spPr>
            <a:xfrm>
              <a:off x="3609750" y="1476400"/>
              <a:ext cx="1375053" cy="893784"/>
            </a:xfrm>
            <a:prstGeom prst="roundRect">
              <a:avLst/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echteck: abgerundete Ecken 4">
              <a:extLst>
                <a:ext uri="{FF2B5EF4-FFF2-40B4-BE49-F238E27FC236}">
                  <a16:creationId xmlns:a16="http://schemas.microsoft.com/office/drawing/2014/main" id="{917F8D54-18EC-4A1D-B1BA-3B763DE99A03}"/>
                </a:ext>
              </a:extLst>
            </p:cNvPr>
            <p:cNvSpPr txBox="1"/>
            <p:nvPr/>
          </p:nvSpPr>
          <p:spPr>
            <a:xfrm>
              <a:off x="3653381" y="1520031"/>
              <a:ext cx="1287791" cy="8065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7113" tIns="97113" rIns="97113" bIns="97113" numCol="1" spcCol="1270" anchor="ctr" anchorCtr="0">
              <a:noAutofit/>
            </a:bodyPr>
            <a:lstStyle/>
            <a:p>
              <a:pPr algn="ctr" defTabSz="113293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549" err="1">
                  <a:solidFill>
                    <a:srgbClr val="FFFFFF"/>
                  </a:solidFill>
                  <a:latin typeface="Segoe UI Semilight"/>
                </a:rPr>
                <a:t>commit</a:t>
              </a:r>
              <a:endParaRPr lang="de-DE" sz="2549">
                <a:solidFill>
                  <a:srgbClr val="FFFFFF"/>
                </a:soli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78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81E6E37-47A6-4CBD-A415-17668D3BD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en-US" dirty="0"/>
              <a:t>proof able</a:t>
            </a:r>
            <a:r>
              <a:rPr lang="de-DE" dirty="0"/>
              <a:t> </a:t>
            </a:r>
            <a:r>
              <a:rPr lang="en-US" dirty="0"/>
              <a:t>targe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stome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477825-A217-4DA1-879D-3C5A30D895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303" y="1341232"/>
            <a:ext cx="11655078" cy="3125885"/>
          </a:xfrm>
        </p:spPr>
        <p:txBody>
          <a:bodyPr/>
          <a:lstStyle/>
          <a:p>
            <a:r>
              <a:rPr lang="de-DE" dirty="0"/>
              <a:t>Think </a:t>
            </a:r>
            <a:r>
              <a:rPr lang="de-DE" dirty="0" err="1"/>
              <a:t>about</a:t>
            </a:r>
            <a:r>
              <a:rPr lang="de-DE" dirty="0"/>
              <a:t> SMART </a:t>
            </a:r>
            <a:r>
              <a:rPr lang="de-DE" dirty="0" err="1"/>
              <a:t>defined</a:t>
            </a:r>
            <a:r>
              <a:rPr lang="de-DE" dirty="0"/>
              <a:t> </a:t>
            </a:r>
            <a:r>
              <a:rPr lang="de-DE" dirty="0" err="1"/>
              <a:t>targets</a:t>
            </a:r>
            <a:r>
              <a:rPr lang="de-DE" dirty="0"/>
              <a:t>:</a:t>
            </a:r>
          </a:p>
          <a:p>
            <a:pPr lvl="1"/>
            <a:r>
              <a:rPr lang="en-US" dirty="0"/>
              <a:t>A </a:t>
            </a:r>
            <a:r>
              <a:rPr lang="en-US" b="1" dirty="0">
                <a:solidFill>
                  <a:schemeClr val="tx2"/>
                </a:solidFill>
              </a:rPr>
              <a:t>SMART</a:t>
            </a:r>
            <a:r>
              <a:rPr lang="en-US" dirty="0"/>
              <a:t> goal should be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S</a:t>
            </a:r>
            <a:r>
              <a:rPr lang="en-US" dirty="0"/>
              <a:t>pecific,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M</a:t>
            </a:r>
            <a:r>
              <a:rPr lang="en-US" dirty="0"/>
              <a:t>easurable,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A</a:t>
            </a:r>
            <a:r>
              <a:rPr lang="en-US" dirty="0"/>
              <a:t>chievable,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R</a:t>
            </a:r>
            <a:r>
              <a:rPr lang="en-US" dirty="0"/>
              <a:t>ealistic and </a:t>
            </a:r>
          </a:p>
          <a:p>
            <a:pPr lvl="2"/>
            <a:r>
              <a:rPr lang="en-US" b="1" dirty="0">
                <a:solidFill>
                  <a:schemeClr val="tx2"/>
                </a:solidFill>
              </a:rPr>
              <a:t>T</a:t>
            </a:r>
            <a:r>
              <a:rPr lang="en-US" dirty="0"/>
              <a:t>ime-bound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A25CC72-0A23-469B-8367-6C12195BAE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140487" y="2485037"/>
            <a:ext cx="4387367" cy="405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72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11D2997-B9BC-43D7-A805-77DBE895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438201"/>
            <a:ext cx="11562249" cy="724246"/>
          </a:xfrm>
        </p:spPr>
        <p:txBody>
          <a:bodyPr/>
          <a:lstStyle/>
          <a:p>
            <a:r>
              <a:rPr lang="en-US"/>
              <a:t>Define a statement of work (SoW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D96ABA-3764-411B-B672-4EF770B59C64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2A8292C-7C17-4EAD-8183-D6D9B6AB9F1F}"/>
              </a:ext>
            </a:extLst>
          </p:cNvPr>
          <p:cNvSpPr/>
          <p:nvPr/>
        </p:nvSpPr>
        <p:spPr bwMode="auto">
          <a:xfrm>
            <a:off x="450950" y="4963805"/>
            <a:ext cx="5385481" cy="21627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 b="1" err="1">
                <a:solidFill>
                  <a:srgbClr val="FFFFFF"/>
                </a:solidFill>
                <a:latin typeface="Arial"/>
              </a:rPr>
              <a:t>Risks</a:t>
            </a:r>
            <a:endParaRPr lang="de-DE" sz="1176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ichtungspfeil 63">
            <a:extLst>
              <a:ext uri="{FF2B5EF4-FFF2-40B4-BE49-F238E27FC236}">
                <a16:creationId xmlns:a16="http://schemas.microsoft.com/office/drawing/2014/main" id="{02563AA9-55B4-48FB-AC4A-B49004EE2782}"/>
              </a:ext>
            </a:extLst>
          </p:cNvPr>
          <p:cNvSpPr/>
          <p:nvPr/>
        </p:nvSpPr>
        <p:spPr bwMode="auto">
          <a:xfrm>
            <a:off x="3207984" y="1830633"/>
            <a:ext cx="6010393" cy="3051638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274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BCABF4F-C277-4A88-B0C5-A83E8EC293FD}"/>
              </a:ext>
            </a:extLst>
          </p:cNvPr>
          <p:cNvSpPr/>
          <p:nvPr/>
        </p:nvSpPr>
        <p:spPr bwMode="auto">
          <a:xfrm>
            <a:off x="450723" y="1621495"/>
            <a:ext cx="8767654" cy="19701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>
                <a:solidFill>
                  <a:srgbClr val="FFFFFF"/>
                </a:solidFill>
                <a:latin typeface="Arial"/>
              </a:rPr>
              <a:t>Project</a:t>
            </a: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9676CDAE-130B-4FF4-A4BD-4F4E40C25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3490" y="1859510"/>
            <a:ext cx="2968634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 dirty="0">
                <a:solidFill>
                  <a:srgbClr val="4B4D3B"/>
                </a:solidFill>
                <a:latin typeface="Arial"/>
              </a:rPr>
              <a:t>Project Goal (Target State)</a:t>
            </a:r>
          </a:p>
        </p:txBody>
      </p:sp>
      <p:sp>
        <p:nvSpPr>
          <p:cNvPr id="8" name="Richtungspfeil 59">
            <a:extLst>
              <a:ext uri="{FF2B5EF4-FFF2-40B4-BE49-F238E27FC236}">
                <a16:creationId xmlns:a16="http://schemas.microsoft.com/office/drawing/2014/main" id="{C570F622-D3AB-401B-99B6-5B4AD4CA3BD3}"/>
              </a:ext>
            </a:extLst>
          </p:cNvPr>
          <p:cNvSpPr/>
          <p:nvPr/>
        </p:nvSpPr>
        <p:spPr bwMode="auto">
          <a:xfrm>
            <a:off x="450724" y="1830633"/>
            <a:ext cx="3728182" cy="3051638"/>
          </a:xfrm>
          <a:prstGeom prst="homePlate">
            <a:avLst>
              <a:gd name="adj" fmla="val 5893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274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0D04206C-A7C7-47C0-BAC2-54B347BCA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58" y="1877309"/>
            <a:ext cx="2780372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Situation</a:t>
            </a:r>
          </a:p>
        </p:txBody>
      </p:sp>
      <p:cxnSp>
        <p:nvCxnSpPr>
          <p:cNvPr id="10" name="Gerade Verbindung 67">
            <a:extLst>
              <a:ext uri="{FF2B5EF4-FFF2-40B4-BE49-F238E27FC236}">
                <a16:creationId xmlns:a16="http://schemas.microsoft.com/office/drawing/2014/main" id="{61023FAE-BDC3-4CFD-BD1B-0493613377EE}"/>
              </a:ext>
            </a:extLst>
          </p:cNvPr>
          <p:cNvCxnSpPr/>
          <p:nvPr/>
        </p:nvCxnSpPr>
        <p:spPr bwMode="auto">
          <a:xfrm>
            <a:off x="4433488" y="2108452"/>
            <a:ext cx="26216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69">
            <a:extLst>
              <a:ext uri="{FF2B5EF4-FFF2-40B4-BE49-F238E27FC236}">
                <a16:creationId xmlns:a16="http://schemas.microsoft.com/office/drawing/2014/main" id="{7C932AC8-0CD2-4720-807E-A27AF2F8760B}"/>
              </a:ext>
            </a:extLst>
          </p:cNvPr>
          <p:cNvCxnSpPr/>
          <p:nvPr/>
        </p:nvCxnSpPr>
        <p:spPr bwMode="auto">
          <a:xfrm>
            <a:off x="520965" y="2124695"/>
            <a:ext cx="262011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88">
            <a:extLst>
              <a:ext uri="{FF2B5EF4-FFF2-40B4-BE49-F238E27FC236}">
                <a16:creationId xmlns:a16="http://schemas.microsoft.com/office/drawing/2014/main" id="{0D0DA74D-5309-4D20-B486-74E45A9D0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053" y="2178468"/>
            <a:ext cx="3334890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3" name="Rectangle 88">
            <a:extLst>
              <a:ext uri="{FF2B5EF4-FFF2-40B4-BE49-F238E27FC236}">
                <a16:creationId xmlns:a16="http://schemas.microsoft.com/office/drawing/2014/main" id="{86C8DCF1-B09F-4052-B73E-83423FEB2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525" y="2194711"/>
            <a:ext cx="468691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812BD20-59D4-44DB-85C8-4DEB1A80C489}"/>
              </a:ext>
            </a:extLst>
          </p:cNvPr>
          <p:cNvSpPr/>
          <p:nvPr/>
        </p:nvSpPr>
        <p:spPr bwMode="auto">
          <a:xfrm>
            <a:off x="450949" y="4963806"/>
            <a:ext cx="5385480" cy="130539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tangle 88">
            <a:extLst>
              <a:ext uri="{FF2B5EF4-FFF2-40B4-BE49-F238E27FC236}">
                <a16:creationId xmlns:a16="http://schemas.microsoft.com/office/drawing/2014/main" id="{A5A6B8AC-BFC7-4BD4-BD57-76EA09D1D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966" y="5292098"/>
            <a:ext cx="501445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7887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B0B32E4-C3D7-4864-9456-F46E796CE206}"/>
              </a:ext>
            </a:extLst>
          </p:cNvPr>
          <p:cNvSpPr/>
          <p:nvPr/>
        </p:nvSpPr>
        <p:spPr bwMode="auto">
          <a:xfrm>
            <a:off x="5966400" y="4963804"/>
            <a:ext cx="3251978" cy="21672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/>
          <a:p>
            <a:pPr defTabSz="896118" eaLnBrk="0" hangingPunct="0">
              <a:defRPr/>
            </a:pPr>
            <a:r>
              <a:rPr lang="de-DE" sz="1176" b="1">
                <a:solidFill>
                  <a:srgbClr val="FFFFFF"/>
                </a:solidFill>
                <a:latin typeface="Arial"/>
              </a:rPr>
              <a:t>Note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CFFC3B0-851A-420F-A2A5-534C71A7E3FD}"/>
              </a:ext>
            </a:extLst>
          </p:cNvPr>
          <p:cNvSpPr/>
          <p:nvPr/>
        </p:nvSpPr>
        <p:spPr bwMode="auto">
          <a:xfrm>
            <a:off x="5966400" y="4963805"/>
            <a:ext cx="3251977" cy="130539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88">
            <a:extLst>
              <a:ext uri="{FF2B5EF4-FFF2-40B4-BE49-F238E27FC236}">
                <a16:creationId xmlns:a16="http://schemas.microsoft.com/office/drawing/2014/main" id="{8FFE7DA3-8B7A-46F9-A4CF-512198D47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83565" y="1624437"/>
            <a:ext cx="2045993" cy="180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 b="1">
                <a:solidFill>
                  <a:srgbClr val="FFFFFF"/>
                </a:solidFill>
                <a:latin typeface="Segoe UI Semilight"/>
              </a:rPr>
              <a:t>Eckwert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41EF0D5-4ECB-48D6-B2E7-3DAEC7B7127A}"/>
              </a:ext>
            </a:extLst>
          </p:cNvPr>
          <p:cNvSpPr/>
          <p:nvPr/>
        </p:nvSpPr>
        <p:spPr bwMode="auto">
          <a:xfrm>
            <a:off x="9393325" y="1616289"/>
            <a:ext cx="2484753" cy="465290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4314" eaLnBrk="0" hangingPunct="0"/>
            <a:endParaRPr lang="de-DE" sz="1176">
              <a:solidFill>
                <a:srgbClr val="000000"/>
              </a:solidFill>
              <a:latin typeface="Segoe UI Semilight"/>
            </a:endParaRPr>
          </a:p>
        </p:txBody>
      </p:sp>
      <p:sp>
        <p:nvSpPr>
          <p:cNvPr id="20" name="Rectangle 88">
            <a:extLst>
              <a:ext uri="{FF2B5EF4-FFF2-40B4-BE49-F238E27FC236}">
                <a16:creationId xmlns:a16="http://schemas.microsoft.com/office/drawing/2014/main" id="{02F4172E-550A-4F2D-961B-84058A236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3955" y="2537872"/>
            <a:ext cx="709485" cy="542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Next Phase
</a:t>
            </a:r>
          </a:p>
        </p:txBody>
      </p:sp>
      <p:sp>
        <p:nvSpPr>
          <p:cNvPr id="21" name="Rectangle 88">
            <a:extLst>
              <a:ext uri="{FF2B5EF4-FFF2-40B4-BE49-F238E27FC236}">
                <a16:creationId xmlns:a16="http://schemas.microsoft.com/office/drawing/2014/main" id="{8782AC84-0FF0-4B45-BDE6-D5E16AE15D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50344" y="2537872"/>
            <a:ext cx="846403" cy="543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Total </a:t>
            </a:r>
            <a:br>
              <a:rPr lang="de-DE" sz="1176">
                <a:solidFill>
                  <a:srgbClr val="4B4D3B"/>
                </a:solidFill>
                <a:latin typeface="Segoe UI Semilight"/>
              </a:rPr>
            </a:br>
            <a:r>
              <a:rPr lang="de-DE" sz="1176" err="1">
                <a:solidFill>
                  <a:srgbClr val="4B4D3B"/>
                </a:solidFill>
                <a:latin typeface="Segoe UI Semilight"/>
              </a:rPr>
              <a:t>project</a:t>
            </a:r>
            <a:r>
              <a:rPr lang="de-DE" sz="1176">
                <a:solidFill>
                  <a:srgbClr val="4B4D3B"/>
                </a:solidFill>
                <a:latin typeface="Segoe UI Semilight"/>
              </a:rPr>
              <a:t>
</a:t>
            </a:r>
          </a:p>
        </p:txBody>
      </p:sp>
      <p:grpSp>
        <p:nvGrpSpPr>
          <p:cNvPr id="22" name="Gruppieren 18">
            <a:extLst>
              <a:ext uri="{FF2B5EF4-FFF2-40B4-BE49-F238E27FC236}">
                <a16:creationId xmlns:a16="http://schemas.microsoft.com/office/drawing/2014/main" id="{5A718F39-5805-4F16-8F70-2F9F444105F3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3108883"/>
            <a:ext cx="2341612" cy="790391"/>
            <a:chOff x="6732240" y="1792685"/>
            <a:chExt cx="2259360" cy="628203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676648F-98F5-4F07-BB3C-FEDB754DA4F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6732240" y="1792685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24" name="Rectangle 88">
              <a:extLst>
                <a:ext uri="{FF2B5EF4-FFF2-40B4-BE49-F238E27FC236}">
                  <a16:creationId xmlns:a16="http://schemas.microsoft.com/office/drawing/2014/main" id="{44BCF3E4-3454-4AFF-AC76-7D9FE31F9EE1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804299" y="1999514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Start:</a:t>
              </a:r>
            </a:p>
          </p:txBody>
        </p:sp>
        <p:sp>
          <p:nvSpPr>
            <p:cNvPr id="25" name="Rectangle 88">
              <a:extLst>
                <a:ext uri="{FF2B5EF4-FFF2-40B4-BE49-F238E27FC236}">
                  <a16:creationId xmlns:a16="http://schemas.microsoft.com/office/drawing/2014/main" id="{F66527AD-B34D-4DB1-9906-FEBD85A44F0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04299" y="2192424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End:</a:t>
              </a:r>
            </a:p>
          </p:txBody>
        </p:sp>
        <p:sp>
          <p:nvSpPr>
            <p:cNvPr id="26" name="Rectangle 88">
              <a:extLst>
                <a:ext uri="{FF2B5EF4-FFF2-40B4-BE49-F238E27FC236}">
                  <a16:creationId xmlns:a16="http://schemas.microsoft.com/office/drawing/2014/main" id="{0791818D-7E8A-4C2B-A5F6-81B7EA18DFB5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04299" y="1822675"/>
              <a:ext cx="50441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Time</a:t>
              </a:r>
            </a:p>
          </p:txBody>
        </p:sp>
      </p:grpSp>
      <p:grpSp>
        <p:nvGrpSpPr>
          <p:cNvPr id="27" name="Gruppieren 16">
            <a:extLst>
              <a:ext uri="{FF2B5EF4-FFF2-40B4-BE49-F238E27FC236}">
                <a16:creationId xmlns:a16="http://schemas.microsoft.com/office/drawing/2014/main" id="{F62A54D3-56A4-4714-8CAB-EE6D7F090F9B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4059531"/>
            <a:ext cx="2341612" cy="790391"/>
            <a:chOff x="6732240" y="2564904"/>
            <a:chExt cx="2259360" cy="628203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92B04F4-2F13-4B90-A3C3-093A8EAE756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732240" y="2564904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29" name="Rectangle 88">
              <a:extLst>
                <a:ext uri="{FF2B5EF4-FFF2-40B4-BE49-F238E27FC236}">
                  <a16:creationId xmlns:a16="http://schemas.microsoft.com/office/drawing/2014/main" id="{004BCC11-0173-438E-8812-31F36787F36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04299" y="2786259"/>
              <a:ext cx="576474" cy="144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kEUR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</a:t>
              </a:r>
            </a:p>
          </p:txBody>
        </p:sp>
        <p:sp>
          <p:nvSpPr>
            <p:cNvPr id="30" name="Rectangle 88">
              <a:extLst>
                <a:ext uri="{FF2B5EF4-FFF2-40B4-BE49-F238E27FC236}">
                  <a16:creationId xmlns:a16="http://schemas.microsoft.com/office/drawing/2014/main" id="{86FC9922-2749-4FDF-A11D-17EB0D09F99D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04299" y="2979172"/>
              <a:ext cx="720593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Tolerance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</a:t>
              </a:r>
            </a:p>
          </p:txBody>
        </p:sp>
        <p:sp>
          <p:nvSpPr>
            <p:cNvPr id="31" name="Rectangle 88">
              <a:extLst>
                <a:ext uri="{FF2B5EF4-FFF2-40B4-BE49-F238E27FC236}">
                  <a16:creationId xmlns:a16="http://schemas.microsoft.com/office/drawing/2014/main" id="{25F144C9-FB1B-4C05-8C3C-305EC9D427F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804299" y="2609422"/>
              <a:ext cx="143968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Budget  (cash-out)</a:t>
              </a:r>
            </a:p>
          </p:txBody>
        </p:sp>
      </p:grpSp>
      <p:grpSp>
        <p:nvGrpSpPr>
          <p:cNvPr id="32" name="Gruppieren 17">
            <a:extLst>
              <a:ext uri="{FF2B5EF4-FFF2-40B4-BE49-F238E27FC236}">
                <a16:creationId xmlns:a16="http://schemas.microsoft.com/office/drawing/2014/main" id="{E8E5EEED-1864-4B7C-AF7C-A821C0C2402B}"/>
              </a:ext>
            </a:extLst>
          </p:cNvPr>
          <p:cNvGrpSpPr>
            <a:grpSpLocks/>
          </p:cNvGrpSpPr>
          <p:nvPr/>
        </p:nvGrpSpPr>
        <p:grpSpPr bwMode="auto">
          <a:xfrm>
            <a:off x="9468006" y="5011735"/>
            <a:ext cx="2341612" cy="856844"/>
            <a:chOff x="6732240" y="3304853"/>
            <a:chExt cx="2259360" cy="68102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FE713A4-2332-4C08-B6F0-722FFAF286C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6732240" y="3304853"/>
              <a:ext cx="2259360" cy="6282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314" eaLnBrk="0" hangingPunct="0">
                <a:defRPr/>
              </a:pPr>
              <a:endParaRPr lang="de-DE" sz="1176" b="1">
                <a:solidFill>
                  <a:srgbClr val="000000"/>
                </a:solidFill>
                <a:latin typeface="Segoe UI Semilight"/>
              </a:endParaRPr>
            </a:p>
          </p:txBody>
        </p:sp>
        <p:sp>
          <p:nvSpPr>
            <p:cNvPr id="34" name="Rectangle 88">
              <a:extLst>
                <a:ext uri="{FF2B5EF4-FFF2-40B4-BE49-F238E27FC236}">
                  <a16:creationId xmlns:a16="http://schemas.microsoft.com/office/drawing/2014/main" id="{0C8E640B-B335-4615-A226-2B6B8776148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804299" y="3506422"/>
              <a:ext cx="687571" cy="287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err="1">
                  <a:solidFill>
                    <a:srgbClr val="4B4D3B"/>
                  </a:solidFill>
                  <a:latin typeface="Segoe UI Semilight"/>
                </a:rPr>
                <a:t>Internally</a:t>
              </a: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:
</a:t>
              </a:r>
            </a:p>
          </p:txBody>
        </p:sp>
        <p:sp>
          <p:nvSpPr>
            <p:cNvPr id="35" name="Rectangle 88">
              <a:extLst>
                <a:ext uri="{FF2B5EF4-FFF2-40B4-BE49-F238E27FC236}">
                  <a16:creationId xmlns:a16="http://schemas.microsoft.com/office/drawing/2014/main" id="{DE700221-AC0F-4921-B426-A3796C77386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04299" y="3698098"/>
              <a:ext cx="609502" cy="287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External:
</a:t>
              </a:r>
            </a:p>
          </p:txBody>
        </p:sp>
        <p:sp>
          <p:nvSpPr>
            <p:cNvPr id="36" name="Rectangle 88">
              <a:extLst>
                <a:ext uri="{FF2B5EF4-FFF2-40B4-BE49-F238E27FC236}">
                  <a16:creationId xmlns:a16="http://schemas.microsoft.com/office/drawing/2014/main" id="{FA7BB1F7-1FBA-4DC4-9EAB-31653AB149D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804299" y="3328349"/>
              <a:ext cx="1439685" cy="143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 b="1" err="1">
                  <a:solidFill>
                    <a:srgbClr val="4B4D3B"/>
                  </a:solidFill>
                  <a:latin typeface="Segoe UI Semilight"/>
                </a:rPr>
                <a:t>Expenses</a:t>
              </a:r>
              <a:r>
                <a:rPr lang="de-DE" sz="1176" b="1">
                  <a:solidFill>
                    <a:srgbClr val="4B4D3B"/>
                  </a:solidFill>
                  <a:latin typeface="Segoe UI Semilight"/>
                </a:rPr>
                <a:t>, in Days</a:t>
              </a:r>
            </a:p>
          </p:txBody>
        </p:sp>
      </p:grpSp>
      <p:cxnSp>
        <p:nvCxnSpPr>
          <p:cNvPr id="37" name="Gerade Verbindung 102">
            <a:extLst>
              <a:ext uri="{FF2B5EF4-FFF2-40B4-BE49-F238E27FC236}">
                <a16:creationId xmlns:a16="http://schemas.microsoft.com/office/drawing/2014/main" id="{2F89D1BB-42C1-4DB1-988E-A1DE8A61F9C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273956" y="2964185"/>
            <a:ext cx="630135" cy="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103">
            <a:extLst>
              <a:ext uri="{FF2B5EF4-FFF2-40B4-BE49-F238E27FC236}">
                <a16:creationId xmlns:a16="http://schemas.microsoft.com/office/drawing/2014/main" id="{B76B7271-FE59-4A49-B7A8-6FF96C72B69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050345" y="2964185"/>
            <a:ext cx="697038" cy="0"/>
          </a:xfrm>
          <a:prstGeom prst="line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tangle 88">
            <a:extLst>
              <a:ext uri="{FF2B5EF4-FFF2-40B4-BE49-F238E27FC236}">
                <a16:creationId xmlns:a16="http://schemas.microsoft.com/office/drawing/2014/main" id="{8ED8B24B-D606-4644-B110-A60407B40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6450" y="1939721"/>
            <a:ext cx="2056529" cy="180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14314" eaLnBrk="0" hangingPunct="0">
              <a:defRPr/>
            </a:pPr>
            <a:r>
              <a:rPr lang="de-DE" sz="1176" b="1">
                <a:solidFill>
                  <a:srgbClr val="4B4D3B"/>
                </a:solidFill>
                <a:latin typeface="Segoe UI Semilight"/>
              </a:rPr>
              <a:t>Project </a:t>
            </a:r>
            <a:r>
              <a:rPr lang="de-DE" sz="1176" b="1" err="1">
                <a:solidFill>
                  <a:srgbClr val="4B4D3B"/>
                </a:solidFill>
                <a:latin typeface="Segoe UI Semilight"/>
              </a:rPr>
              <a:t>manager</a:t>
            </a:r>
            <a:r>
              <a:rPr lang="de-DE" sz="1176" b="1">
                <a:solidFill>
                  <a:srgbClr val="4B4D3B"/>
                </a:solidFill>
                <a:latin typeface="Segoe UI Semilight"/>
              </a:rPr>
              <a:t>: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1485EE-D485-4C70-A816-268A51106776}"/>
              </a:ext>
            </a:extLst>
          </p:cNvPr>
          <p:cNvSpPr/>
          <p:nvPr/>
        </p:nvSpPr>
        <p:spPr bwMode="auto">
          <a:xfrm>
            <a:off x="9468006" y="2173105"/>
            <a:ext cx="2341612" cy="2682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4314" eaLnBrk="0" hangingPunct="0">
              <a:defRPr/>
            </a:pPr>
            <a:r>
              <a:rPr lang="de-DE" sz="1176">
                <a:solidFill>
                  <a:srgbClr val="4B4D3B"/>
                </a:solidFill>
                <a:latin typeface="Segoe UI Semilight"/>
              </a:rPr>
              <a:t>….</a:t>
            </a:r>
          </a:p>
        </p:txBody>
      </p:sp>
      <p:grpSp>
        <p:nvGrpSpPr>
          <p:cNvPr id="41" name="Gruppieren 3">
            <a:extLst>
              <a:ext uri="{FF2B5EF4-FFF2-40B4-BE49-F238E27FC236}">
                <a16:creationId xmlns:a16="http://schemas.microsoft.com/office/drawing/2014/main" id="{947EA27E-E284-4C91-9FB4-80ECE73098D5}"/>
              </a:ext>
            </a:extLst>
          </p:cNvPr>
          <p:cNvGrpSpPr>
            <a:grpSpLocks/>
          </p:cNvGrpSpPr>
          <p:nvPr/>
        </p:nvGrpSpPr>
        <p:grpSpPr bwMode="auto">
          <a:xfrm>
            <a:off x="10273956" y="3387976"/>
            <a:ext cx="1552778" cy="2300883"/>
            <a:chOff x="7308302" y="2280623"/>
            <a:chExt cx="1584178" cy="2358048"/>
          </a:xfrm>
        </p:grpSpPr>
        <p:sp>
          <p:nvSpPr>
            <p:cNvPr id="42" name="Rectangle 88">
              <a:extLst>
                <a:ext uri="{FF2B5EF4-FFF2-40B4-BE49-F238E27FC236}">
                  <a16:creationId xmlns:a16="http://schemas.microsoft.com/office/drawing/2014/main" id="{C2F85F23-3E7A-4C10-867D-D2E3EEC728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2280623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01.01.13</a:t>
              </a:r>
            </a:p>
          </p:txBody>
        </p:sp>
        <p:sp>
          <p:nvSpPr>
            <p:cNvPr id="43" name="Rectangle 88">
              <a:extLst>
                <a:ext uri="{FF2B5EF4-FFF2-40B4-BE49-F238E27FC236}">
                  <a16:creationId xmlns:a16="http://schemas.microsoft.com/office/drawing/2014/main" id="{F5B1BF7A-823A-4A51-96DC-C13D1327F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2526666"/>
              <a:ext cx="644465" cy="185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31.01.13</a:t>
              </a:r>
            </a:p>
          </p:txBody>
        </p:sp>
        <p:sp>
          <p:nvSpPr>
            <p:cNvPr id="44" name="Rectangle 88">
              <a:extLst>
                <a:ext uri="{FF2B5EF4-FFF2-40B4-BE49-F238E27FC236}">
                  <a16:creationId xmlns:a16="http://schemas.microsoft.com/office/drawing/2014/main" id="{F91D9F38-B24C-4BED-894A-32D889358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3251496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100</a:t>
              </a:r>
            </a:p>
          </p:txBody>
        </p:sp>
        <p:sp>
          <p:nvSpPr>
            <p:cNvPr id="45" name="Rectangle 88">
              <a:extLst>
                <a:ext uri="{FF2B5EF4-FFF2-40B4-BE49-F238E27FC236}">
                  <a16:creationId xmlns:a16="http://schemas.microsoft.com/office/drawing/2014/main" id="{C092DC64-8C01-4C80-AD3B-5E481D93A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3" y="3511825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20%</a:t>
              </a:r>
            </a:p>
          </p:txBody>
        </p:sp>
        <p:sp>
          <p:nvSpPr>
            <p:cNvPr id="46" name="Rectangle 88">
              <a:extLst>
                <a:ext uri="{FF2B5EF4-FFF2-40B4-BE49-F238E27FC236}">
                  <a16:creationId xmlns:a16="http://schemas.microsoft.com/office/drawing/2014/main" id="{0CD11F04-90F3-4A3D-AF91-12B82E4A6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8302" y="4216619"/>
              <a:ext cx="1280990" cy="185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78 + PM</a:t>
              </a:r>
            </a:p>
          </p:txBody>
        </p:sp>
        <p:sp>
          <p:nvSpPr>
            <p:cNvPr id="47" name="Rectangle 88">
              <a:extLst>
                <a:ext uri="{FF2B5EF4-FFF2-40B4-BE49-F238E27FC236}">
                  <a16:creationId xmlns:a16="http://schemas.microsoft.com/office/drawing/2014/main" id="{F35169FF-C4EE-4A4B-9720-5A150A4C3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4175" y="4453137"/>
              <a:ext cx="1420682" cy="1855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4B4D3B"/>
                  </a:solidFill>
                  <a:latin typeface="Segoe UI Semilight"/>
                </a:rPr>
                <a:t>5 *</a:t>
              </a:r>
            </a:p>
          </p:txBody>
        </p:sp>
        <p:sp>
          <p:nvSpPr>
            <p:cNvPr id="48" name="Rectangle 88">
              <a:extLst>
                <a:ext uri="{FF2B5EF4-FFF2-40B4-BE49-F238E27FC236}">
                  <a16:creationId xmlns:a16="http://schemas.microsoft.com/office/drawing/2014/main" id="{EB873B9C-1F7C-4392-8F55-8582B3DC8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2280623"/>
              <a:ext cx="792088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01.01.13</a:t>
              </a:r>
            </a:p>
          </p:txBody>
        </p:sp>
        <p:sp>
          <p:nvSpPr>
            <p:cNvPr id="49" name="Rectangle 88">
              <a:extLst>
                <a:ext uri="{FF2B5EF4-FFF2-40B4-BE49-F238E27FC236}">
                  <a16:creationId xmlns:a16="http://schemas.microsoft.com/office/drawing/2014/main" id="{8E5D73DF-7485-4F5B-9614-539828BC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2526666"/>
              <a:ext cx="792088" cy="185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31.12.13</a:t>
              </a:r>
            </a:p>
          </p:txBody>
        </p:sp>
        <p:sp>
          <p:nvSpPr>
            <p:cNvPr id="50" name="Rectangle 88">
              <a:extLst>
                <a:ext uri="{FF2B5EF4-FFF2-40B4-BE49-F238E27FC236}">
                  <a16:creationId xmlns:a16="http://schemas.microsoft.com/office/drawing/2014/main" id="{62DCE830-63D9-4514-A763-7B8C59815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3251496"/>
              <a:ext cx="576208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1.100</a:t>
              </a:r>
            </a:p>
          </p:txBody>
        </p:sp>
        <p:sp>
          <p:nvSpPr>
            <p:cNvPr id="51" name="Rectangle 88">
              <a:extLst>
                <a:ext uri="{FF2B5EF4-FFF2-40B4-BE49-F238E27FC236}">
                  <a16:creationId xmlns:a16="http://schemas.microsoft.com/office/drawing/2014/main" id="{7C4C34E0-A93E-4F7E-A3C5-7774BD5908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3511825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r>
                <a:rPr lang="de-DE" sz="1176">
                  <a:solidFill>
                    <a:srgbClr val="FFFFFF">
                      <a:lumMod val="50000"/>
                    </a:srgbClr>
                  </a:solidFill>
                  <a:latin typeface="Segoe UI Semilight"/>
                </a:rPr>
                <a:t>10%</a:t>
              </a:r>
            </a:p>
          </p:txBody>
        </p:sp>
        <p:sp>
          <p:nvSpPr>
            <p:cNvPr id="52" name="Rectangle 88">
              <a:extLst>
                <a:ext uri="{FF2B5EF4-FFF2-40B4-BE49-F238E27FC236}">
                  <a16:creationId xmlns:a16="http://schemas.microsoft.com/office/drawing/2014/main" id="{7759BBD6-5CAF-4338-88B3-EA6546370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4216619"/>
              <a:ext cx="576208" cy="1857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endParaRPr lang="de-DE" sz="1176">
                <a:solidFill>
                  <a:srgbClr val="FFFFFF">
                    <a:lumMod val="50000"/>
                  </a:srgbClr>
                </a:solidFill>
                <a:latin typeface="Segoe UI Semilight"/>
              </a:endParaRPr>
            </a:p>
          </p:txBody>
        </p:sp>
        <p:sp>
          <p:nvSpPr>
            <p:cNvPr id="53" name="Rectangle 88">
              <a:extLst>
                <a:ext uri="{FF2B5EF4-FFF2-40B4-BE49-F238E27FC236}">
                  <a16:creationId xmlns:a16="http://schemas.microsoft.com/office/drawing/2014/main" id="{B27681DF-DABD-4E61-953B-D6AE562A4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0392" y="4453138"/>
              <a:ext cx="644465" cy="184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314" eaLnBrk="0" hangingPunct="0">
                <a:defRPr/>
              </a:pPr>
              <a:endParaRPr lang="de-DE" sz="1176">
                <a:solidFill>
                  <a:srgbClr val="FFFFFF">
                    <a:lumMod val="50000"/>
                  </a:srgbClr>
                </a:solidFill>
                <a:latin typeface="Segoe UI Semilight"/>
              </a:endParaRPr>
            </a:p>
          </p:txBody>
        </p:sp>
      </p:grpSp>
      <p:sp>
        <p:nvSpPr>
          <p:cNvPr id="54" name="Textfeld 53">
            <a:extLst>
              <a:ext uri="{FF2B5EF4-FFF2-40B4-BE49-F238E27FC236}">
                <a16:creationId xmlns:a16="http://schemas.microsoft.com/office/drawing/2014/main" id="{A35DD4EB-42D5-44D0-9961-958A5EEC1225}"/>
              </a:ext>
            </a:extLst>
          </p:cNvPr>
          <p:cNvSpPr txBox="1"/>
          <p:nvPr/>
        </p:nvSpPr>
        <p:spPr>
          <a:xfrm>
            <a:off x="9393325" y="1625130"/>
            <a:ext cx="2484753" cy="2363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0566" tIns="0" rIns="70566" bIns="0" anchor="ctr"/>
          <a:lstStyle>
            <a:defPPr>
              <a:defRPr lang="de-DE"/>
            </a:defPPr>
            <a:lvl1pPr eaLnBrk="0" hangingPunct="0">
              <a:defRPr sz="1200">
                <a:solidFill>
                  <a:schemeClr val="bg1"/>
                </a:solidFill>
              </a:defRPr>
            </a:lvl1pPr>
          </a:lstStyle>
          <a:p>
            <a:pPr defTabSz="914314"/>
            <a:r>
              <a:rPr lang="de-DE" sz="1176">
                <a:solidFill>
                  <a:srgbClr val="FFFFFF"/>
                </a:solidFill>
                <a:latin typeface="Segoe UI Semilight"/>
              </a:rPr>
              <a:t>Parameters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8BCF3061-78AA-445F-90E2-E3633E43D433}"/>
              </a:ext>
            </a:extLst>
          </p:cNvPr>
          <p:cNvSpPr txBox="1"/>
          <p:nvPr/>
        </p:nvSpPr>
        <p:spPr bwMode="gray">
          <a:xfrm>
            <a:off x="9542689" y="5936538"/>
            <a:ext cx="2236736" cy="1810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14"/>
            <a:r>
              <a:rPr lang="de-DE" sz="1176">
                <a:solidFill>
                  <a:srgbClr val="4B4D3B"/>
                </a:solidFill>
                <a:latin typeface="Segoe UI Semilight"/>
              </a:rPr>
              <a:t>*</a:t>
            </a:r>
            <a:r>
              <a:rPr lang="de-DE" sz="1176" err="1">
                <a:solidFill>
                  <a:srgbClr val="4B4D3B"/>
                </a:solidFill>
                <a:latin typeface="Segoe UI Semilight"/>
              </a:rPr>
              <a:t>Depending</a:t>
            </a:r>
            <a:r>
              <a:rPr lang="de-DE" sz="1176">
                <a:solidFill>
                  <a:srgbClr val="4B4D3B"/>
                </a:solidFill>
                <a:latin typeface="Segoe UI Semilight"/>
              </a:rPr>
              <a:t> on internal </a:t>
            </a:r>
            <a:r>
              <a:rPr lang="de-DE" sz="1176" err="1">
                <a:solidFill>
                  <a:srgbClr val="4B4D3B"/>
                </a:solidFill>
                <a:latin typeface="Segoe UI Semilight"/>
              </a:rPr>
              <a:t>Availability</a:t>
            </a:r>
            <a:endParaRPr lang="de-DE" sz="1176">
              <a:solidFill>
                <a:srgbClr val="4B4D3B"/>
              </a:solidFill>
              <a:latin typeface="Segoe UI Semilight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7EB0A44-DD4F-4729-8C41-7BF6273BBBEF}"/>
              </a:ext>
            </a:extLst>
          </p:cNvPr>
          <p:cNvSpPr/>
          <p:nvPr/>
        </p:nvSpPr>
        <p:spPr bwMode="gray">
          <a:xfrm flipH="1">
            <a:off x="9384680" y="1877309"/>
            <a:ext cx="2478429" cy="4391887"/>
          </a:xfrm>
          <a:prstGeom prst="rect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de-DE" sz="1568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57" name="Rectangle 88">
            <a:extLst>
              <a:ext uri="{FF2B5EF4-FFF2-40B4-BE49-F238E27FC236}">
                <a16:creationId xmlns:a16="http://schemas.microsoft.com/office/drawing/2014/main" id="{A8B64BE2-82D1-44B2-958F-A4168B5CD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3490" y="3642218"/>
            <a:ext cx="2968634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6118" eaLnBrk="0" hangingPunct="0">
              <a:defRPr/>
            </a:pPr>
            <a:r>
              <a:rPr lang="de-DE" sz="1176" dirty="0">
                <a:solidFill>
                  <a:srgbClr val="4B4D3B"/>
                </a:solidFill>
                <a:latin typeface="Arial"/>
              </a:rPr>
              <a:t>Project Benefit/Value</a:t>
            </a:r>
          </a:p>
        </p:txBody>
      </p:sp>
      <p:cxnSp>
        <p:nvCxnSpPr>
          <p:cNvPr id="58" name="Gerade Verbindung 67">
            <a:extLst>
              <a:ext uri="{FF2B5EF4-FFF2-40B4-BE49-F238E27FC236}">
                <a16:creationId xmlns:a16="http://schemas.microsoft.com/office/drawing/2014/main" id="{B882DEF6-4D39-40EF-AE2A-2695B92B60B1}"/>
              </a:ext>
            </a:extLst>
          </p:cNvPr>
          <p:cNvCxnSpPr/>
          <p:nvPr/>
        </p:nvCxnSpPr>
        <p:spPr bwMode="auto">
          <a:xfrm>
            <a:off x="4433488" y="3891160"/>
            <a:ext cx="26216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Rectangle 88">
            <a:extLst>
              <a:ext uri="{FF2B5EF4-FFF2-40B4-BE49-F238E27FC236}">
                <a16:creationId xmlns:a16="http://schemas.microsoft.com/office/drawing/2014/main" id="{88B51DCB-0C53-4628-9E73-D20214638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053" y="3961176"/>
            <a:ext cx="3334890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8022" indent="-168022" defTabSz="896118" eaLnBrk="0" hangingPunct="0">
              <a:buFont typeface="Arial" pitchFamily="34" charset="0"/>
              <a:buChar char="•"/>
              <a:defRPr/>
            </a:pPr>
            <a:r>
              <a:rPr lang="de-DE" sz="1176">
                <a:solidFill>
                  <a:srgbClr val="4B4D3B"/>
                </a:solidFill>
                <a:latin typeface="Arial"/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21895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75073E-C4A9-4073-9FA2-1F2C1885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F51C3C4-511A-4C98-8A9D-132DC3D97771}"/>
              </a:ext>
            </a:extLst>
          </p:cNvPr>
          <p:cNvSpPr txBox="1"/>
          <p:nvPr/>
        </p:nvSpPr>
        <p:spPr>
          <a:xfrm>
            <a:off x="261460" y="1965545"/>
            <a:ext cx="11627911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/>
          <a:p>
            <a:pPr defTabSz="896118">
              <a:defRPr/>
            </a:pPr>
            <a:endParaRPr lang="de-DE" sz="1764">
              <a:solidFill>
                <a:srgbClr val="4B4D3B"/>
              </a:solidFill>
              <a:latin typeface="Arial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56F0C33-A868-4A9E-A42A-EE7E37FE1492}"/>
              </a:ext>
            </a:extLst>
          </p:cNvPr>
          <p:cNvSpPr/>
          <p:nvPr/>
        </p:nvSpPr>
        <p:spPr bwMode="auto">
          <a:xfrm>
            <a:off x="264572" y="1654366"/>
            <a:ext cx="2697832" cy="23998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Rectangle 88">
            <a:extLst>
              <a:ext uri="{FF2B5EF4-FFF2-40B4-BE49-F238E27FC236}">
                <a16:creationId xmlns:a16="http://schemas.microsoft.com/office/drawing/2014/main" id="{1F9933C0-531B-4425-B847-52E8E80A8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59" y="1674592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err="1">
                <a:solidFill>
                  <a:srgbClr val="FFFFFF"/>
                </a:solidFill>
              </a:rPr>
              <a:t>Objectiv</a:t>
            </a:r>
            <a:endParaRPr lang="en-US" altLang="de-DE" sz="1176">
              <a:solidFill>
                <a:srgbClr val="FFFFFF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D9A4409-B14D-4342-9595-4C0596B3D414}"/>
              </a:ext>
            </a:extLst>
          </p:cNvPr>
          <p:cNvSpPr/>
          <p:nvPr/>
        </p:nvSpPr>
        <p:spPr bwMode="auto">
          <a:xfrm>
            <a:off x="261461" y="1654366"/>
            <a:ext cx="11625853" cy="3279893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E31B112D-52B3-4A53-90DB-2BA3269EB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3798" y="2029334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8" name="Rectangle 88">
            <a:extLst>
              <a:ext uri="{FF2B5EF4-FFF2-40B4-BE49-F238E27FC236}">
                <a16:creationId xmlns:a16="http://schemas.microsoft.com/office/drawing/2014/main" id="{B0176E6C-C3A9-49DE-8087-7A35B78A1B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2203" y="2029334"/>
            <a:ext cx="1552777" cy="182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FE6DBA65-21E8-4652-83D7-D8F6B8ACF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60" y="2029334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2E81B-8D8F-4288-A341-78C7CC9BB4F6}"/>
              </a:ext>
            </a:extLst>
          </p:cNvPr>
          <p:cNvSpPr/>
          <p:nvPr/>
        </p:nvSpPr>
        <p:spPr bwMode="auto">
          <a:xfrm>
            <a:off x="2833346" y="1654368"/>
            <a:ext cx="3796366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729D405B-A6B4-443C-B154-037DDFD07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971" y="1674590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>
                <a:solidFill>
                  <a:srgbClr val="FFFFFF"/>
                </a:solidFill>
              </a:rPr>
              <a:t>Success criteria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39448F-6515-4C7E-925C-E91561B25026}"/>
              </a:ext>
            </a:extLst>
          </p:cNvPr>
          <p:cNvSpPr/>
          <p:nvPr/>
        </p:nvSpPr>
        <p:spPr bwMode="auto">
          <a:xfrm>
            <a:off x="6629710" y="1654367"/>
            <a:ext cx="5249484" cy="236497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3" name="Rectangle 88">
            <a:extLst>
              <a:ext uri="{FF2B5EF4-FFF2-40B4-BE49-F238E27FC236}">
                <a16:creationId xmlns:a16="http://schemas.microsoft.com/office/drawing/2014/main" id="{23FE41BC-FC97-4480-804A-22E0AC26C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3469" y="1673708"/>
            <a:ext cx="1898582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>
                <a:solidFill>
                  <a:srgbClr val="FFFFFF"/>
                </a:solidFill>
              </a:rPr>
              <a:t>Responsibl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57C4D94-EAF5-4CD4-BD0C-34469A02FD05}"/>
              </a:ext>
            </a:extLst>
          </p:cNvPr>
          <p:cNvSpPr/>
          <p:nvPr/>
        </p:nvSpPr>
        <p:spPr bwMode="auto">
          <a:xfrm>
            <a:off x="261461" y="4995781"/>
            <a:ext cx="11625853" cy="130539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455202E-8030-4B1D-B4B9-9614B500B07F}"/>
              </a:ext>
            </a:extLst>
          </p:cNvPr>
          <p:cNvSpPr/>
          <p:nvPr/>
        </p:nvSpPr>
        <p:spPr bwMode="auto">
          <a:xfrm>
            <a:off x="269240" y="4998892"/>
            <a:ext cx="11625852" cy="27383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000000"/>
              </a:solidFill>
              <a:latin typeface="ITC Officina Sans Book" pitchFamily="1" charset="0"/>
            </a:endParaRPr>
          </a:p>
        </p:txBody>
      </p:sp>
      <p:sp>
        <p:nvSpPr>
          <p:cNvPr id="16" name="Rectangle 88">
            <a:extLst>
              <a:ext uri="{FF2B5EF4-FFF2-40B4-BE49-F238E27FC236}">
                <a16:creationId xmlns:a16="http://schemas.microsoft.com/office/drawing/2014/main" id="{A5CEF26E-CD1F-40F6-BB5E-B2500B766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60" y="5044014"/>
            <a:ext cx="6235998" cy="182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de-DE" altLang="de-DE" sz="1176">
                <a:solidFill>
                  <a:srgbClr val="FFFFFF"/>
                </a:solidFill>
              </a:rPr>
              <a:t>Delimitation</a:t>
            </a:r>
          </a:p>
        </p:txBody>
      </p:sp>
      <p:sp>
        <p:nvSpPr>
          <p:cNvPr id="17" name="Rectangle 88">
            <a:extLst>
              <a:ext uri="{FF2B5EF4-FFF2-40B4-BE49-F238E27FC236}">
                <a16:creationId xmlns:a16="http://schemas.microsoft.com/office/drawing/2014/main" id="{7E2776E4-4384-444F-8A29-3BFD8AD178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59" y="5347409"/>
            <a:ext cx="8612611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C2DA9C4-B61A-40E7-B77F-C6A573E70CA9}"/>
              </a:ext>
            </a:extLst>
          </p:cNvPr>
          <p:cNvSpPr txBox="1"/>
          <p:nvPr/>
        </p:nvSpPr>
        <p:spPr>
          <a:xfrm>
            <a:off x="273910" y="2944187"/>
            <a:ext cx="11605284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>
            <a:defPPr>
              <a:defRPr lang="de-DE"/>
            </a:defPPr>
            <a:lvl1pPr defTabSz="896118">
              <a:defRPr sz="1764">
                <a:solidFill>
                  <a:srgbClr val="4B4D3B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19" name="Rectangle 88">
            <a:extLst>
              <a:ext uri="{FF2B5EF4-FFF2-40B4-BE49-F238E27FC236}">
                <a16:creationId xmlns:a16="http://schemas.microsoft.com/office/drawing/2014/main" id="{1FC315C4-B9C3-4A1C-BE3E-BFE968449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6245" y="3003310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0" name="Rectangle 88">
            <a:extLst>
              <a:ext uri="{FF2B5EF4-FFF2-40B4-BE49-F238E27FC236}">
                <a16:creationId xmlns:a16="http://schemas.microsoft.com/office/drawing/2014/main" id="{9F77552A-52AA-4EED-821B-23F4AA2CB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4651" y="3003310"/>
            <a:ext cx="1552777" cy="182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21" name="Rectangle 88">
            <a:extLst>
              <a:ext uri="{FF2B5EF4-FFF2-40B4-BE49-F238E27FC236}">
                <a16:creationId xmlns:a16="http://schemas.microsoft.com/office/drawing/2014/main" id="{944AC64F-426A-4E2E-96E7-3A4E83E07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807" y="3003310"/>
            <a:ext cx="2520538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72C05D1-236C-410F-956B-5DFB474D333D}"/>
              </a:ext>
            </a:extLst>
          </p:cNvPr>
          <p:cNvSpPr txBox="1"/>
          <p:nvPr/>
        </p:nvSpPr>
        <p:spPr>
          <a:xfrm>
            <a:off x="273910" y="3913388"/>
            <a:ext cx="11605284" cy="860405"/>
          </a:xfrm>
          <a:prstGeom prst="rect">
            <a:avLst/>
          </a:prstGeom>
          <a:solidFill>
            <a:srgbClr val="E6E6E6"/>
          </a:solidFill>
        </p:spPr>
        <p:txBody>
          <a:bodyPr lIns="0" tIns="0" rIns="0" bIns="0"/>
          <a:lstStyle>
            <a:defPPr>
              <a:defRPr lang="de-DE"/>
            </a:defPPr>
            <a:lvl1pPr defTabSz="896118">
              <a:defRPr sz="1764">
                <a:solidFill>
                  <a:srgbClr val="4B4D3B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23" name="Rectangle 88">
            <a:extLst>
              <a:ext uri="{FF2B5EF4-FFF2-40B4-BE49-F238E27FC236}">
                <a16:creationId xmlns:a16="http://schemas.microsoft.com/office/drawing/2014/main" id="{4C9806C0-FCBD-4023-81E6-7BFF7CB6F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1580" y="3977177"/>
            <a:ext cx="3710792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4" name="Rectangle 88">
            <a:extLst>
              <a:ext uri="{FF2B5EF4-FFF2-40B4-BE49-F238E27FC236}">
                <a16:creationId xmlns:a16="http://schemas.microsoft.com/office/drawing/2014/main" id="{AE71E409-A053-41CC-B4B5-8EEAC4C48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9982" y="3977177"/>
            <a:ext cx="1552777" cy="1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..</a:t>
            </a:r>
          </a:p>
        </p:txBody>
      </p:sp>
      <p:sp>
        <p:nvSpPr>
          <p:cNvPr id="25" name="Rectangle 88">
            <a:extLst>
              <a:ext uri="{FF2B5EF4-FFF2-40B4-BE49-F238E27FC236}">
                <a16:creationId xmlns:a16="http://schemas.microsoft.com/office/drawing/2014/main" id="{EBA4FCFA-A6C7-43A8-A6E5-2FF76B529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695" y="3977177"/>
            <a:ext cx="2389844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74DAEC43-AEE7-4228-B0A9-0347290FC150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85400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66B0B239-091B-45EF-8DF1-A0CA1BA9E53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868542" y="2227491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96F8254-85B6-414A-9313-07DBCBDA22D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69240" y="2227491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8" name="Gruppieren 64">
            <a:extLst>
              <a:ext uri="{FF2B5EF4-FFF2-40B4-BE49-F238E27FC236}">
                <a16:creationId xmlns:a16="http://schemas.microsoft.com/office/drawing/2014/main" id="{A7D76DFF-A5B6-4727-83F1-E471001E385B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6346" y="2395732"/>
            <a:ext cx="374552" cy="377727"/>
            <a:chOff x="6738143" y="4924578"/>
            <a:chExt cx="375097" cy="376630"/>
          </a:xfrm>
        </p:grpSpPr>
        <p:sp>
          <p:nvSpPr>
            <p:cNvPr id="29" name="Ellipse 65">
              <a:extLst>
                <a:ext uri="{FF2B5EF4-FFF2-40B4-BE49-F238E27FC236}">
                  <a16:creationId xmlns:a16="http://schemas.microsoft.com/office/drawing/2014/main" id="{A2D244BB-AB6A-4A30-BD8A-DFBDDC294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Textfeld 66">
              <a:extLst>
                <a:ext uri="{FF2B5EF4-FFF2-40B4-BE49-F238E27FC236}">
                  <a16:creationId xmlns:a16="http://schemas.microsoft.com/office/drawing/2014/main" id="{065A4812-A751-4F28-AE53-6B5F063E84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1</a:t>
              </a:r>
            </a:p>
          </p:txBody>
        </p:sp>
      </p:grpSp>
      <p:cxnSp>
        <p:nvCxnSpPr>
          <p:cNvPr id="31" name="Gerade Verbindung 3">
            <a:extLst>
              <a:ext uri="{FF2B5EF4-FFF2-40B4-BE49-F238E27FC236}">
                <a16:creationId xmlns:a16="http://schemas.microsoft.com/office/drawing/2014/main" id="{A971AF1A-4F6A-4677-BF70-859589A1E6B7}"/>
              </a:ext>
            </a:extLst>
          </p:cNvPr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285112" y="3132127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DB75073E-C4A9-4073-9FA2-1F2C1885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dition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56F0C33-A868-4A9E-A42A-EE7E37FE1492}"/>
              </a:ext>
            </a:extLst>
          </p:cNvPr>
          <p:cNvSpPr/>
          <p:nvPr/>
        </p:nvSpPr>
        <p:spPr bwMode="auto">
          <a:xfrm>
            <a:off x="272352" y="1859849"/>
            <a:ext cx="3479960" cy="23649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Rectangle 88">
            <a:extLst>
              <a:ext uri="{FF2B5EF4-FFF2-40B4-BE49-F238E27FC236}">
                <a16:creationId xmlns:a16="http://schemas.microsoft.com/office/drawing/2014/main" id="{1F9933C0-531B-4425-B847-52E8E80A8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291" y="1873770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Condition</a:t>
            </a:r>
          </a:p>
        </p:txBody>
      </p:sp>
      <p:sp>
        <p:nvSpPr>
          <p:cNvPr id="7" name="Rectangle 88">
            <a:extLst>
              <a:ext uri="{FF2B5EF4-FFF2-40B4-BE49-F238E27FC236}">
                <a16:creationId xmlns:a16="http://schemas.microsoft.com/office/drawing/2014/main" id="{E31B112D-52B3-4A53-90DB-2BA3269EB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9359" y="2537831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9" name="Rectangle 88">
            <a:extLst>
              <a:ext uri="{FF2B5EF4-FFF2-40B4-BE49-F238E27FC236}">
                <a16:creationId xmlns:a16="http://schemas.microsoft.com/office/drawing/2014/main" id="{FE6DBA65-21E8-4652-83D7-D8F6B8ACF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2502491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2E81B-8D8F-4288-A341-78C7CC9BB4F6}"/>
              </a:ext>
            </a:extLst>
          </p:cNvPr>
          <p:cNvSpPr/>
          <p:nvPr/>
        </p:nvSpPr>
        <p:spPr bwMode="auto">
          <a:xfrm>
            <a:off x="3868542" y="1856741"/>
            <a:ext cx="3796366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729D405B-A6B4-443C-B154-037DDFD07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0751" y="1880073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Detai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39448F-6515-4C7E-925C-E91561B25026}"/>
              </a:ext>
            </a:extLst>
          </p:cNvPr>
          <p:cNvSpPr/>
          <p:nvPr/>
        </p:nvSpPr>
        <p:spPr bwMode="auto">
          <a:xfrm>
            <a:off x="6637490" y="1856741"/>
            <a:ext cx="2528958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74DAEC43-AEE7-4228-B0A9-0347290FC150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09358FE-F29F-4F95-A9F8-8C81B2BCB18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868542" y="3237568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3FA4EF9F-6EB7-42B6-A447-3301AF794CC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69240" y="3237568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3" name="Gruppieren 64">
            <a:extLst>
              <a:ext uri="{FF2B5EF4-FFF2-40B4-BE49-F238E27FC236}">
                <a16:creationId xmlns:a16="http://schemas.microsoft.com/office/drawing/2014/main" id="{709A476F-BD78-436A-916D-DB18ADEE741E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26346" y="3405809"/>
            <a:ext cx="374552" cy="377727"/>
            <a:chOff x="6738143" y="4924578"/>
            <a:chExt cx="375097" cy="376630"/>
          </a:xfrm>
        </p:grpSpPr>
        <p:sp>
          <p:nvSpPr>
            <p:cNvPr id="44" name="Ellipse 65">
              <a:extLst>
                <a:ext uri="{FF2B5EF4-FFF2-40B4-BE49-F238E27FC236}">
                  <a16:creationId xmlns:a16="http://schemas.microsoft.com/office/drawing/2014/main" id="{C284661E-A190-4418-90B0-7EBB59FB6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Textfeld 66">
              <a:extLst>
                <a:ext uri="{FF2B5EF4-FFF2-40B4-BE49-F238E27FC236}">
                  <a16:creationId xmlns:a16="http://schemas.microsoft.com/office/drawing/2014/main" id="{ACBD9887-1F0E-410C-8E17-DAA2F7CABE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2</a:t>
              </a:r>
            </a:p>
          </p:txBody>
        </p:sp>
      </p:grpSp>
      <p:cxnSp>
        <p:nvCxnSpPr>
          <p:cNvPr id="46" name="Gerade Verbindung 3">
            <a:extLst>
              <a:ext uri="{FF2B5EF4-FFF2-40B4-BE49-F238E27FC236}">
                <a16:creationId xmlns:a16="http://schemas.microsoft.com/office/drawing/2014/main" id="{8EAB7B0C-DC75-4EC5-B07B-C5CA73A8F499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285112" y="4142204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" name="Rectangle 88">
            <a:extLst>
              <a:ext uri="{FF2B5EF4-FFF2-40B4-BE49-F238E27FC236}">
                <a16:creationId xmlns:a16="http://schemas.microsoft.com/office/drawing/2014/main" id="{77240002-C1E2-4523-804D-28C9EA775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9359" y="3547908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8" name="Rectangle 88">
            <a:extLst>
              <a:ext uri="{FF2B5EF4-FFF2-40B4-BE49-F238E27FC236}">
                <a16:creationId xmlns:a16="http://schemas.microsoft.com/office/drawing/2014/main" id="{F2620523-113D-48C2-A4D6-A57B256E7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3512568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04F1C26-7D83-456F-9E12-BE68D91E16C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84414" y="4247645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EF07912A-3437-4DFA-916A-8D4EF2613AE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5112" y="4247645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1" name="Gruppieren 64">
            <a:extLst>
              <a:ext uri="{FF2B5EF4-FFF2-40B4-BE49-F238E27FC236}">
                <a16:creationId xmlns:a16="http://schemas.microsoft.com/office/drawing/2014/main" id="{D7C4AF64-9870-4DCF-832D-283508CFDB1B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2218" y="4415886"/>
            <a:ext cx="374552" cy="377727"/>
            <a:chOff x="6738143" y="4924578"/>
            <a:chExt cx="375097" cy="376630"/>
          </a:xfrm>
        </p:grpSpPr>
        <p:sp>
          <p:nvSpPr>
            <p:cNvPr id="52" name="Ellipse 65">
              <a:extLst>
                <a:ext uri="{FF2B5EF4-FFF2-40B4-BE49-F238E27FC236}">
                  <a16:creationId xmlns:a16="http://schemas.microsoft.com/office/drawing/2014/main" id="{5AE588B5-B73B-413F-BE04-47636F662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Textfeld 66">
              <a:extLst>
                <a:ext uri="{FF2B5EF4-FFF2-40B4-BE49-F238E27FC236}">
                  <a16:creationId xmlns:a16="http://schemas.microsoft.com/office/drawing/2014/main" id="{ABD52697-3D90-4910-BBCF-32588F766D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3</a:t>
              </a:r>
            </a:p>
          </p:txBody>
        </p:sp>
      </p:grpSp>
      <p:cxnSp>
        <p:nvCxnSpPr>
          <p:cNvPr id="54" name="Gerade Verbindung 3">
            <a:extLst>
              <a:ext uri="{FF2B5EF4-FFF2-40B4-BE49-F238E27FC236}">
                <a16:creationId xmlns:a16="http://schemas.microsoft.com/office/drawing/2014/main" id="{D5385A82-F233-4435-AC68-A0B32171FEF2}"/>
              </a:ext>
            </a:extLst>
          </p:cNvPr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300984" y="5152281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Rectangle 88">
            <a:extLst>
              <a:ext uri="{FF2B5EF4-FFF2-40B4-BE49-F238E27FC236}">
                <a16:creationId xmlns:a16="http://schemas.microsoft.com/office/drawing/2014/main" id="{E70BA8DC-6337-4924-A4D2-3DEA8D6663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5231" y="4557985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56" name="Rectangle 88">
            <a:extLst>
              <a:ext uri="{FF2B5EF4-FFF2-40B4-BE49-F238E27FC236}">
                <a16:creationId xmlns:a16="http://schemas.microsoft.com/office/drawing/2014/main" id="{4E7DD388-0FF7-4282-8850-3E4A01064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4522645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03CB46B-A946-4051-8A8E-CE0FE3AEE8E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884414" y="5257722"/>
            <a:ext cx="5297906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AA9204C4-2EC9-42E0-8E26-CBDCB9A7F86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5112" y="5257722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9" name="Gruppieren 64">
            <a:extLst>
              <a:ext uri="{FF2B5EF4-FFF2-40B4-BE49-F238E27FC236}">
                <a16:creationId xmlns:a16="http://schemas.microsoft.com/office/drawing/2014/main" id="{002F3D9D-ABA4-4EF7-ABC1-AFC0B8C60E28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42218" y="5425963"/>
            <a:ext cx="374552" cy="377727"/>
            <a:chOff x="6738143" y="4924578"/>
            <a:chExt cx="375097" cy="376630"/>
          </a:xfrm>
        </p:grpSpPr>
        <p:sp>
          <p:nvSpPr>
            <p:cNvPr id="60" name="Ellipse 65">
              <a:extLst>
                <a:ext uri="{FF2B5EF4-FFF2-40B4-BE49-F238E27FC236}">
                  <a16:creationId xmlns:a16="http://schemas.microsoft.com/office/drawing/2014/main" id="{5800F222-500B-4C91-A59D-35396FAB4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Textfeld 66">
              <a:extLst>
                <a:ext uri="{FF2B5EF4-FFF2-40B4-BE49-F238E27FC236}">
                  <a16:creationId xmlns:a16="http://schemas.microsoft.com/office/drawing/2014/main" id="{AB8A61DA-6317-4031-89C8-60663C4B22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4</a:t>
              </a:r>
            </a:p>
          </p:txBody>
        </p:sp>
      </p:grpSp>
      <p:cxnSp>
        <p:nvCxnSpPr>
          <p:cNvPr id="62" name="Gerade Verbindung 3">
            <a:extLst>
              <a:ext uri="{FF2B5EF4-FFF2-40B4-BE49-F238E27FC236}">
                <a16:creationId xmlns:a16="http://schemas.microsoft.com/office/drawing/2014/main" id="{A3F962ED-904F-4841-9E90-2D5998593D50}"/>
              </a:ext>
            </a:extLst>
          </p:cNvPr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>
            <a:off x="300984" y="6162358"/>
            <a:ext cx="888609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3" name="Rectangle 88">
            <a:extLst>
              <a:ext uri="{FF2B5EF4-FFF2-40B4-BE49-F238E27FC236}">
                <a16:creationId xmlns:a16="http://schemas.microsoft.com/office/drawing/2014/main" id="{78177526-FE50-41D6-975E-C43CA37E01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5231" y="5568062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64" name="Rectangle 88">
            <a:extLst>
              <a:ext uri="{FF2B5EF4-FFF2-40B4-BE49-F238E27FC236}">
                <a16:creationId xmlns:a16="http://schemas.microsoft.com/office/drawing/2014/main" id="{68F16662-E536-4D60-8E00-A9B18EED53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5532722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5000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2B53C1-E694-4E4B-A40A-ACE13F6E8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</a:t>
            </a:r>
            <a:r>
              <a:rPr lang="de-DE" dirty="0" err="1"/>
              <a:t>packages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11C5C2C-6240-4DB4-A221-3C2FE76AEC6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868543" y="2227491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0B48ECD-2233-4148-A992-7702C7E96BE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69240" y="2227491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" name="Gruppieren 64">
            <a:extLst>
              <a:ext uri="{FF2B5EF4-FFF2-40B4-BE49-F238E27FC236}">
                <a16:creationId xmlns:a16="http://schemas.microsoft.com/office/drawing/2014/main" id="{C76C4ADB-C57F-4EDF-AD4D-3472B40DA58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6346" y="2395732"/>
            <a:ext cx="374552" cy="377727"/>
            <a:chOff x="6738143" y="4924578"/>
            <a:chExt cx="375097" cy="376630"/>
          </a:xfrm>
        </p:grpSpPr>
        <p:sp>
          <p:nvSpPr>
            <p:cNvPr id="6" name="Ellipse 65">
              <a:extLst>
                <a:ext uri="{FF2B5EF4-FFF2-40B4-BE49-F238E27FC236}">
                  <a16:creationId xmlns:a16="http://schemas.microsoft.com/office/drawing/2014/main" id="{1634E432-4D37-4783-A500-213063D0C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Textfeld 66">
              <a:extLst>
                <a:ext uri="{FF2B5EF4-FFF2-40B4-BE49-F238E27FC236}">
                  <a16:creationId xmlns:a16="http://schemas.microsoft.com/office/drawing/2014/main" id="{C065106D-92D0-4385-84C0-1ED7D34E7C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1</a:t>
              </a:r>
            </a:p>
          </p:txBody>
        </p:sp>
      </p:grpSp>
      <p:cxnSp>
        <p:nvCxnSpPr>
          <p:cNvPr id="8" name="Gerade Verbindung 3">
            <a:extLst>
              <a:ext uri="{FF2B5EF4-FFF2-40B4-BE49-F238E27FC236}">
                <a16:creationId xmlns:a16="http://schemas.microsoft.com/office/drawing/2014/main" id="{E45DB6FF-67CF-4583-BBAC-441399D33E27}"/>
              </a:ext>
            </a:extLst>
          </p:cNvPr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298965" y="3132127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525FA600-94C5-43BC-B7A4-B1D3F8AB5514}"/>
              </a:ext>
            </a:extLst>
          </p:cNvPr>
          <p:cNvSpPr/>
          <p:nvPr/>
        </p:nvSpPr>
        <p:spPr bwMode="auto">
          <a:xfrm>
            <a:off x="272352" y="1859849"/>
            <a:ext cx="3479960" cy="23649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0" name="Rectangle 88">
            <a:extLst>
              <a:ext uri="{FF2B5EF4-FFF2-40B4-BE49-F238E27FC236}">
                <a16:creationId xmlns:a16="http://schemas.microsoft.com/office/drawing/2014/main" id="{9929A23A-9909-458E-B490-829DEAA01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291" y="1873770"/>
            <a:ext cx="1473426" cy="1804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Work package</a:t>
            </a:r>
          </a:p>
        </p:txBody>
      </p:sp>
      <p:sp>
        <p:nvSpPr>
          <p:cNvPr id="11" name="Rectangle 88">
            <a:extLst>
              <a:ext uri="{FF2B5EF4-FFF2-40B4-BE49-F238E27FC236}">
                <a16:creationId xmlns:a16="http://schemas.microsoft.com/office/drawing/2014/main" id="{01D2EC13-68F1-46CB-B331-FD719C3B94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586" y="2537831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2" name="Rectangle 88">
            <a:extLst>
              <a:ext uri="{FF2B5EF4-FFF2-40B4-BE49-F238E27FC236}">
                <a16:creationId xmlns:a16="http://schemas.microsoft.com/office/drawing/2014/main" id="{1CC2BA9D-A302-40CC-AD9A-0669AACA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2502491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6506955-3C83-4C5B-9163-3FD4C5ED46E3}"/>
              </a:ext>
            </a:extLst>
          </p:cNvPr>
          <p:cNvSpPr/>
          <p:nvPr/>
        </p:nvSpPr>
        <p:spPr bwMode="auto">
          <a:xfrm>
            <a:off x="3868542" y="1856741"/>
            <a:ext cx="1928724" cy="239606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4" name="Rectangle 88">
            <a:extLst>
              <a:ext uri="{FF2B5EF4-FFF2-40B4-BE49-F238E27FC236}">
                <a16:creationId xmlns:a16="http://schemas.microsoft.com/office/drawing/2014/main" id="{79F3D33B-E81D-4EAA-B0B2-5E6DAD086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4345" y="1879759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Dat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2E418F1-C589-4862-B0C8-B92CBA65771A}"/>
              </a:ext>
            </a:extLst>
          </p:cNvPr>
          <p:cNvSpPr/>
          <p:nvPr/>
        </p:nvSpPr>
        <p:spPr bwMode="auto">
          <a:xfrm>
            <a:off x="5925419" y="1853927"/>
            <a:ext cx="2160186" cy="25213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96118" eaLnBrk="0" hangingPunct="0">
              <a:defRPr/>
            </a:pPr>
            <a:endParaRPr lang="de-DE" sz="1176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2D4325A-BDCD-4BFB-9494-00D68EF722F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868543" y="3237568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82F1B3-CA85-46F3-9DCD-AA74EC483EC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69240" y="3237568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8" name="Gruppieren 64">
            <a:extLst>
              <a:ext uri="{FF2B5EF4-FFF2-40B4-BE49-F238E27FC236}">
                <a16:creationId xmlns:a16="http://schemas.microsoft.com/office/drawing/2014/main" id="{0A9620B2-2D34-4FCC-BA78-0A1F61133A82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26346" y="3405809"/>
            <a:ext cx="374552" cy="377727"/>
            <a:chOff x="6738143" y="4924578"/>
            <a:chExt cx="375097" cy="376630"/>
          </a:xfrm>
        </p:grpSpPr>
        <p:sp>
          <p:nvSpPr>
            <p:cNvPr id="19" name="Ellipse 65">
              <a:extLst>
                <a:ext uri="{FF2B5EF4-FFF2-40B4-BE49-F238E27FC236}">
                  <a16:creationId xmlns:a16="http://schemas.microsoft.com/office/drawing/2014/main" id="{4E2AD213-C7AB-46A2-B093-54E4FBFF4E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0" name="Textfeld 66">
              <a:extLst>
                <a:ext uri="{FF2B5EF4-FFF2-40B4-BE49-F238E27FC236}">
                  <a16:creationId xmlns:a16="http://schemas.microsoft.com/office/drawing/2014/main" id="{AD9DB1B7-31A7-4302-8F7B-D5C168294E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2</a:t>
              </a:r>
            </a:p>
          </p:txBody>
        </p:sp>
      </p:grpSp>
      <p:cxnSp>
        <p:nvCxnSpPr>
          <p:cNvPr id="21" name="Gerade Verbindung 3">
            <a:extLst>
              <a:ext uri="{FF2B5EF4-FFF2-40B4-BE49-F238E27FC236}">
                <a16:creationId xmlns:a16="http://schemas.microsoft.com/office/drawing/2014/main" id="{B20FDCB3-CAFC-461A-A2C9-0AEC84298149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298965" y="4142204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Rectangle 88">
            <a:extLst>
              <a:ext uri="{FF2B5EF4-FFF2-40B4-BE49-F238E27FC236}">
                <a16:creationId xmlns:a16="http://schemas.microsoft.com/office/drawing/2014/main" id="{CEAAF3F2-B179-4C85-872C-EE0EE57B5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3586" y="3547908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3" name="Rectangle 88">
            <a:extLst>
              <a:ext uri="{FF2B5EF4-FFF2-40B4-BE49-F238E27FC236}">
                <a16:creationId xmlns:a16="http://schemas.microsoft.com/office/drawing/2014/main" id="{E2993C7A-B6F3-476D-A024-77A5A140F9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004" y="3512568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A2A8732-A5C9-4E7F-9983-8067D8A2C8A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84415" y="4247645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C957223-1F42-4845-A2CD-FD108827167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85112" y="4247645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6" name="Gruppieren 64">
            <a:extLst>
              <a:ext uri="{FF2B5EF4-FFF2-40B4-BE49-F238E27FC236}">
                <a16:creationId xmlns:a16="http://schemas.microsoft.com/office/drawing/2014/main" id="{C1D00D97-1454-4AAA-AB37-5B2272B2CAF2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2218" y="4415886"/>
            <a:ext cx="374552" cy="377727"/>
            <a:chOff x="6738143" y="4924578"/>
            <a:chExt cx="375097" cy="376630"/>
          </a:xfrm>
        </p:grpSpPr>
        <p:sp>
          <p:nvSpPr>
            <p:cNvPr id="27" name="Ellipse 65">
              <a:extLst>
                <a:ext uri="{FF2B5EF4-FFF2-40B4-BE49-F238E27FC236}">
                  <a16:creationId xmlns:a16="http://schemas.microsoft.com/office/drawing/2014/main" id="{A3C85AB6-E8CF-46E3-8D1E-A2CBD8908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Textfeld 66">
              <a:extLst>
                <a:ext uri="{FF2B5EF4-FFF2-40B4-BE49-F238E27FC236}">
                  <a16:creationId xmlns:a16="http://schemas.microsoft.com/office/drawing/2014/main" id="{475A0B9D-DECD-4823-B914-3E90ACEB50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3</a:t>
              </a:r>
            </a:p>
          </p:txBody>
        </p:sp>
      </p:grpSp>
      <p:cxnSp>
        <p:nvCxnSpPr>
          <p:cNvPr id="29" name="Gerade Verbindung 3">
            <a:extLst>
              <a:ext uri="{FF2B5EF4-FFF2-40B4-BE49-F238E27FC236}">
                <a16:creationId xmlns:a16="http://schemas.microsoft.com/office/drawing/2014/main" id="{4AF41563-F95B-4B40-A66F-760C6CCF72BE}"/>
              </a:ext>
            </a:extLst>
          </p:cNvPr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314837" y="5152281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Rectangle 88">
            <a:extLst>
              <a:ext uri="{FF2B5EF4-FFF2-40B4-BE49-F238E27FC236}">
                <a16:creationId xmlns:a16="http://schemas.microsoft.com/office/drawing/2014/main" id="{169790A6-0D48-47CA-836B-A0D932D909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9458" y="4557985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1" name="Rectangle 88">
            <a:extLst>
              <a:ext uri="{FF2B5EF4-FFF2-40B4-BE49-F238E27FC236}">
                <a16:creationId xmlns:a16="http://schemas.microsoft.com/office/drawing/2014/main" id="{9E121E05-83CE-4734-98CA-2C3D93C7F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4522645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8CC0759-78D8-4F3C-9464-43E801C456B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884415" y="5257722"/>
            <a:ext cx="1921074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4C95B19-44BF-4C3F-A5E5-A8688A0718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85112" y="5257722"/>
            <a:ext cx="3479960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4" name="Gruppieren 64">
            <a:extLst>
              <a:ext uri="{FF2B5EF4-FFF2-40B4-BE49-F238E27FC236}">
                <a16:creationId xmlns:a16="http://schemas.microsoft.com/office/drawing/2014/main" id="{39E2A3C2-E709-426B-B22E-AEEBED14C6B2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42218" y="5425963"/>
            <a:ext cx="374552" cy="377727"/>
            <a:chOff x="6738143" y="4924578"/>
            <a:chExt cx="375097" cy="376630"/>
          </a:xfrm>
        </p:grpSpPr>
        <p:sp>
          <p:nvSpPr>
            <p:cNvPr id="35" name="Ellipse 65">
              <a:extLst>
                <a:ext uri="{FF2B5EF4-FFF2-40B4-BE49-F238E27FC236}">
                  <a16:creationId xmlns:a16="http://schemas.microsoft.com/office/drawing/2014/main" id="{3D2E5584-AED8-4A26-905D-CBC4521A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143" y="4924578"/>
              <a:ext cx="375097" cy="376630"/>
            </a:xfrm>
            <a:prstGeom prst="ellipse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/>
              <a:endParaRPr lang="de-DE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Textfeld 66">
              <a:extLst>
                <a:ext uri="{FF2B5EF4-FFF2-40B4-BE49-F238E27FC236}">
                  <a16:creationId xmlns:a16="http://schemas.microsoft.com/office/drawing/2014/main" id="{6907DE01-5020-4F71-B9BF-003D0A96FD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567" y="4972483"/>
              <a:ext cx="367567" cy="276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ITC Officina Sans Book" pitchFamily="1" charset="0"/>
                </a:defRPr>
              </a:lvl9pPr>
            </a:lstStyle>
            <a:p>
              <a:pPr algn="ctr" defTabSz="609585"/>
              <a:r>
                <a:rPr lang="de-DE" sz="1200" b="1" dirty="0">
                  <a:solidFill>
                    <a:prstClr val="white"/>
                  </a:solidFill>
                  <a:latin typeface="Arial" pitchFamily="34" charset="0"/>
                </a:rPr>
                <a:t>4</a:t>
              </a:r>
            </a:p>
          </p:txBody>
        </p:sp>
      </p:grpSp>
      <p:cxnSp>
        <p:nvCxnSpPr>
          <p:cNvPr id="37" name="Gerade Verbindung 3">
            <a:extLst>
              <a:ext uri="{FF2B5EF4-FFF2-40B4-BE49-F238E27FC236}">
                <a16:creationId xmlns:a16="http://schemas.microsoft.com/office/drawing/2014/main" id="{A3DBFBC3-F4C1-4005-B0B4-B46525DAE990}"/>
              </a:ext>
            </a:extLst>
          </p:cNvPr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>
            <a:off x="314837" y="6162358"/>
            <a:ext cx="777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Rectangle 88">
            <a:extLst>
              <a:ext uri="{FF2B5EF4-FFF2-40B4-BE49-F238E27FC236}">
                <a16:creationId xmlns:a16="http://schemas.microsoft.com/office/drawing/2014/main" id="{1D5C7063-F0C0-420A-85BF-6BED0EFB3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9458" y="5568062"/>
            <a:ext cx="3710793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39" name="Rectangle 88">
            <a:extLst>
              <a:ext uri="{FF2B5EF4-FFF2-40B4-BE49-F238E27FC236}">
                <a16:creationId xmlns:a16="http://schemas.microsoft.com/office/drawing/2014/main" id="{CFEB7C75-02AD-4E1D-8036-91A357763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3876" y="5532722"/>
            <a:ext cx="2391399" cy="181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26312E2-4ECD-4BD1-9C47-EE752B5A38C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925420" y="2237210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Rectangle 88">
            <a:extLst>
              <a:ext uri="{FF2B5EF4-FFF2-40B4-BE49-F238E27FC236}">
                <a16:creationId xmlns:a16="http://schemas.microsoft.com/office/drawing/2014/main" id="{611B1C61-83E2-4493-9758-CDBF0D53B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2547550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2" name="Rectangle 88">
            <a:extLst>
              <a:ext uri="{FF2B5EF4-FFF2-40B4-BE49-F238E27FC236}">
                <a16:creationId xmlns:a16="http://schemas.microsoft.com/office/drawing/2014/main" id="{8D602D43-A987-4518-85B6-623E0E698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2312" y="1880342"/>
            <a:ext cx="2010509" cy="181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96118"/>
            <a:r>
              <a:rPr lang="en-US" altLang="de-DE" sz="1176" dirty="0">
                <a:solidFill>
                  <a:srgbClr val="FFFFFF"/>
                </a:solidFill>
              </a:rPr>
              <a:t>Responsibl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94F9DE-EB1C-4B5C-947B-AEA5FC0B502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925420" y="3248173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" name="Rectangle 88">
            <a:extLst>
              <a:ext uri="{FF2B5EF4-FFF2-40B4-BE49-F238E27FC236}">
                <a16:creationId xmlns:a16="http://schemas.microsoft.com/office/drawing/2014/main" id="{E327853A-3BD6-43CE-BFAC-C545B6744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3558513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24B761B-3FF7-4568-BCD1-27EF5FB08B59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25420" y="4247645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Rectangle 88">
            <a:extLst>
              <a:ext uri="{FF2B5EF4-FFF2-40B4-BE49-F238E27FC236}">
                <a16:creationId xmlns:a16="http://schemas.microsoft.com/office/drawing/2014/main" id="{0E0F7A37-1104-4199-BF0C-AC82C3FFB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4557985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F0662B2-F27A-4C43-8376-E02F43FD93B9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925420" y="5257721"/>
            <a:ext cx="2160185" cy="828459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609585">
              <a:defRPr/>
            </a:pPr>
            <a:endParaRPr lang="de-DE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Rectangle 88">
            <a:extLst>
              <a:ext uri="{FF2B5EF4-FFF2-40B4-BE49-F238E27FC236}">
                <a16:creationId xmlns:a16="http://schemas.microsoft.com/office/drawing/2014/main" id="{A21CDEB1-D3E5-4BE2-B08B-B4B960ACAA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0464" y="5568061"/>
            <a:ext cx="1595749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022" indent="-168022" defTabSz="896118">
              <a:buFont typeface="Arial" panose="020B0604020202020204" pitchFamily="34" charset="0"/>
              <a:buChar char="•"/>
            </a:pPr>
            <a:r>
              <a:rPr lang="de-DE" altLang="de-DE" sz="1176" dirty="0">
                <a:solidFill>
                  <a:srgbClr val="4B4D3B"/>
                </a:solidFill>
              </a:rPr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0136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C28FC4-1C03-479D-87A6-4522A2DFB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 </a:t>
            </a:r>
            <a:r>
              <a:rPr lang="de-DE" dirty="0" err="1"/>
              <a:t>package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4D028EF-D7BB-4821-ADB6-7A1821CAC5C5}"/>
              </a:ext>
            </a:extLst>
          </p:cNvPr>
          <p:cNvSpPr/>
          <p:nvPr/>
        </p:nvSpPr>
        <p:spPr bwMode="auto">
          <a:xfrm>
            <a:off x="269810" y="1612799"/>
            <a:ext cx="8769667" cy="3710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3BAEC0E-505E-49F1-B730-ACAD0091A524}"/>
              </a:ext>
            </a:extLst>
          </p:cNvPr>
          <p:cNvSpPr/>
          <p:nvPr/>
        </p:nvSpPr>
        <p:spPr bwMode="auto">
          <a:xfrm>
            <a:off x="269810" y="2032641"/>
            <a:ext cx="8769667" cy="371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FFFFFF"/>
              </a:solidFill>
              <a:latin typeface="ITC Officina Sans Book" pitchFamily="1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3086207-30AF-4DAE-9690-1599FBC74E21}"/>
              </a:ext>
            </a:extLst>
          </p:cNvPr>
          <p:cNvSpPr txBox="1"/>
          <p:nvPr/>
        </p:nvSpPr>
        <p:spPr>
          <a:xfrm>
            <a:off x="331153" y="2079622"/>
            <a:ext cx="33958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Start: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4B863B5-4759-4EF8-B8CD-B36E40C82162}"/>
              </a:ext>
            </a:extLst>
          </p:cNvPr>
          <p:cNvSpPr txBox="1"/>
          <p:nvPr/>
        </p:nvSpPr>
        <p:spPr>
          <a:xfrm>
            <a:off x="1930397" y="2079622"/>
            <a:ext cx="2773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End: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392394-AB67-4DA7-82FD-7EAA88FDFBC5}"/>
              </a:ext>
            </a:extLst>
          </p:cNvPr>
          <p:cNvSpPr txBox="1"/>
          <p:nvPr/>
        </p:nvSpPr>
        <p:spPr>
          <a:xfrm>
            <a:off x="3746006" y="2079622"/>
            <a:ext cx="42171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/>
                </a:solidFill>
                <a:latin typeface="Calibri"/>
              </a:rPr>
              <a:t>Effort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: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21DD3D6-CA95-4EA6-B5BC-B45CE76FE565}"/>
              </a:ext>
            </a:extLst>
          </p:cNvPr>
          <p:cNvSpPr txBox="1"/>
          <p:nvPr/>
        </p:nvSpPr>
        <p:spPr>
          <a:xfrm>
            <a:off x="758788" y="2079622"/>
            <a:ext cx="5254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D.MM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3AD288-1F9A-411B-B5C6-9F582C9FE4B3}"/>
              </a:ext>
            </a:extLst>
          </p:cNvPr>
          <p:cNvSpPr txBox="1"/>
          <p:nvPr/>
        </p:nvSpPr>
        <p:spPr>
          <a:xfrm>
            <a:off x="2362223" y="2079622"/>
            <a:ext cx="5254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D.MM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95C9075-9D5D-47B9-B2EA-9E957D168401}"/>
              </a:ext>
            </a:extLst>
          </p:cNvPr>
          <p:cNvSpPr txBox="1"/>
          <p:nvPr/>
        </p:nvSpPr>
        <p:spPr>
          <a:xfrm>
            <a:off x="4460315" y="2089143"/>
            <a:ext cx="2686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6 P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449E854-18BC-4D9E-BD83-0652755BDE82}"/>
              </a:ext>
            </a:extLst>
          </p:cNvPr>
          <p:cNvSpPr txBox="1"/>
          <p:nvPr/>
        </p:nvSpPr>
        <p:spPr>
          <a:xfrm>
            <a:off x="331153" y="2476835"/>
            <a:ext cx="9334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4B4D3B"/>
                </a:solidFill>
                <a:latin typeface="Calibri"/>
              </a:rPr>
              <a:t>Specifications</a:t>
            </a:r>
            <a:r>
              <a:rPr lang="de-DE" sz="1200" dirty="0">
                <a:solidFill>
                  <a:srgbClr val="4B4D3B"/>
                </a:solidFill>
                <a:latin typeface="Calibri"/>
              </a:rPr>
              <a:t>: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01630C1-89AB-4E37-B710-27F41BF0902B}"/>
              </a:ext>
            </a:extLst>
          </p:cNvPr>
          <p:cNvSpPr txBox="1"/>
          <p:nvPr/>
        </p:nvSpPr>
        <p:spPr>
          <a:xfrm>
            <a:off x="331154" y="2800914"/>
            <a:ext cx="42997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  <a:p>
            <a:pPr defTabSz="609585"/>
            <a:endParaRPr lang="de-DE" sz="1200" dirty="0">
              <a:solidFill>
                <a:srgbClr val="4B4D3B"/>
              </a:solidFill>
              <a:latin typeface="Calibri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339FE20-6FC1-4516-99C0-F8774B5032BA}"/>
              </a:ext>
            </a:extLst>
          </p:cNvPr>
          <p:cNvSpPr txBox="1"/>
          <p:nvPr/>
        </p:nvSpPr>
        <p:spPr>
          <a:xfrm>
            <a:off x="331152" y="5147608"/>
            <a:ext cx="25459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BCB945B-0EB8-4B3E-99F8-81502407508A}"/>
              </a:ext>
            </a:extLst>
          </p:cNvPr>
          <p:cNvSpPr txBox="1"/>
          <p:nvPr/>
        </p:nvSpPr>
        <p:spPr>
          <a:xfrm>
            <a:off x="2893530" y="5147608"/>
            <a:ext cx="305143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  <a:p>
            <a:pPr marL="171349" indent="-171349" defTabSz="609585"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4B4D3B"/>
              </a:solidFill>
              <a:latin typeface="Calibri"/>
            </a:endParaRPr>
          </a:p>
          <a:p>
            <a:pPr marL="171349" indent="-171349" defTabSz="609585"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4B4D3B"/>
              </a:solidFill>
              <a:latin typeface="Calibri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3B5C511-1A1F-4B01-AAF9-9877810A755F}"/>
              </a:ext>
            </a:extLst>
          </p:cNvPr>
          <p:cNvSpPr txBox="1"/>
          <p:nvPr/>
        </p:nvSpPr>
        <p:spPr>
          <a:xfrm>
            <a:off x="6131675" y="2079622"/>
            <a:ext cx="58695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Duration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AD7E0D2-9CFF-48E9-940C-858A6CBF1734}"/>
              </a:ext>
            </a:extLst>
          </p:cNvPr>
          <p:cNvSpPr txBox="1"/>
          <p:nvPr/>
        </p:nvSpPr>
        <p:spPr>
          <a:xfrm>
            <a:off x="6835052" y="2089143"/>
            <a:ext cx="4862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10 Day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5FCEDBA-9CE9-461C-8ADE-6832E040B38E}"/>
              </a:ext>
            </a:extLst>
          </p:cNvPr>
          <p:cNvSpPr txBox="1"/>
          <p:nvPr/>
        </p:nvSpPr>
        <p:spPr>
          <a:xfrm>
            <a:off x="6131676" y="1692947"/>
            <a:ext cx="1406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b="1" dirty="0">
                <a:solidFill>
                  <a:srgbClr val="4B4D3B"/>
                </a:solidFill>
                <a:latin typeface="Calibri"/>
              </a:rPr>
              <a:t>Responsable: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A5A17BD-7291-44C6-A650-90A1D74C73BA}"/>
              </a:ext>
            </a:extLst>
          </p:cNvPr>
          <p:cNvSpPr txBox="1"/>
          <p:nvPr/>
        </p:nvSpPr>
        <p:spPr>
          <a:xfrm>
            <a:off x="7528205" y="1692947"/>
            <a:ext cx="12205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>
                    <a:lumMod val="50000"/>
                  </a:srgbClr>
                </a:solidFill>
                <a:latin typeface="Calibri"/>
              </a:rPr>
              <a:t>n.n.</a:t>
            </a:r>
            <a:endParaRPr lang="de-DE" sz="120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cxnSp>
        <p:nvCxnSpPr>
          <p:cNvPr id="19" name="Gerade Verbindung 6">
            <a:extLst>
              <a:ext uri="{FF2B5EF4-FFF2-40B4-BE49-F238E27FC236}">
                <a16:creationId xmlns:a16="http://schemas.microsoft.com/office/drawing/2014/main" id="{5F9137EF-5DAF-4761-AEC0-848E12005A34}"/>
              </a:ext>
            </a:extLst>
          </p:cNvPr>
          <p:cNvCxnSpPr/>
          <p:nvPr/>
        </p:nvCxnSpPr>
        <p:spPr bwMode="auto">
          <a:xfrm>
            <a:off x="331155" y="2701375"/>
            <a:ext cx="15525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0428AFA-E4F7-4978-8165-D5DCB65FEAFE}"/>
              </a:ext>
            </a:extLst>
          </p:cNvPr>
          <p:cNvGrpSpPr/>
          <p:nvPr/>
        </p:nvGrpSpPr>
        <p:grpSpPr>
          <a:xfrm>
            <a:off x="333401" y="1692950"/>
            <a:ext cx="2677226" cy="184666"/>
            <a:chOff x="181760" y="1381435"/>
            <a:chExt cx="2678619" cy="173949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801E2777-7276-4F68-BC30-F04836A20E25}"/>
                </a:ext>
              </a:extLst>
            </p:cNvPr>
            <p:cNvSpPr txBox="1"/>
            <p:nvPr/>
          </p:nvSpPr>
          <p:spPr>
            <a:xfrm>
              <a:off x="181760" y="1381435"/>
              <a:ext cx="580333" cy="1739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09585"/>
              <a:r>
                <a:rPr lang="de-DE" sz="1200" b="1" dirty="0">
                  <a:solidFill>
                    <a:srgbClr val="4B4D3B"/>
                  </a:solidFill>
                  <a:latin typeface="Calibri"/>
                </a:rPr>
                <a:t>Titel WP:</a:t>
              </a: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9104DBBB-FED3-4893-B4A0-F5765ACADE0F}"/>
                </a:ext>
              </a:extLst>
            </p:cNvPr>
            <p:cNvSpPr txBox="1"/>
            <p:nvPr/>
          </p:nvSpPr>
          <p:spPr>
            <a:xfrm>
              <a:off x="899592" y="1381435"/>
              <a:ext cx="1960787" cy="1739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09585"/>
              <a:r>
                <a:rPr lang="de-DE" sz="1200" dirty="0">
                  <a:solidFill>
                    <a:srgbClr val="4B4D3B"/>
                  </a:solidFill>
                  <a:latin typeface="Calibri"/>
                </a:rPr>
                <a:t>Feinkonzept Optimum erstellen</a:t>
              </a: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0633EB2C-B18B-451B-8142-C4C6C632D374}"/>
              </a:ext>
            </a:extLst>
          </p:cNvPr>
          <p:cNvSpPr txBox="1"/>
          <p:nvPr/>
        </p:nvSpPr>
        <p:spPr>
          <a:xfrm>
            <a:off x="6060234" y="2476835"/>
            <a:ext cx="2620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4B4D3B"/>
                </a:solidFill>
                <a:latin typeface="Calibri"/>
              </a:rPr>
              <a:t>Resources </a:t>
            </a:r>
            <a:r>
              <a:rPr lang="de-DE" sz="1200" dirty="0" err="1">
                <a:solidFill>
                  <a:srgbClr val="4B4D3B"/>
                </a:solidFill>
                <a:latin typeface="Calibri"/>
              </a:rPr>
              <a:t>required</a:t>
            </a:r>
            <a:r>
              <a:rPr lang="de-DE" sz="1200" dirty="0">
                <a:solidFill>
                  <a:srgbClr val="4B4D3B"/>
                </a:solidFill>
                <a:latin typeface="Calibri"/>
              </a:rPr>
              <a:t>/material:</a:t>
            </a:r>
          </a:p>
        </p:txBody>
      </p:sp>
      <p:cxnSp>
        <p:nvCxnSpPr>
          <p:cNvPr id="26" name="Gerade Verbindung 48">
            <a:extLst>
              <a:ext uri="{FF2B5EF4-FFF2-40B4-BE49-F238E27FC236}">
                <a16:creationId xmlns:a16="http://schemas.microsoft.com/office/drawing/2014/main" id="{C4F77BA0-1DDD-4289-A01F-0AFFF7954CB0}"/>
              </a:ext>
            </a:extLst>
          </p:cNvPr>
          <p:cNvCxnSpPr/>
          <p:nvPr/>
        </p:nvCxnSpPr>
        <p:spPr bwMode="auto">
          <a:xfrm>
            <a:off x="6074173" y="2701375"/>
            <a:ext cx="227449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67ECD843-B2FF-4E82-A6EC-6DE94DF370A9}"/>
              </a:ext>
            </a:extLst>
          </p:cNvPr>
          <p:cNvSpPr txBox="1"/>
          <p:nvPr/>
        </p:nvSpPr>
        <p:spPr>
          <a:xfrm>
            <a:off x="6074855" y="5147608"/>
            <a:ext cx="276232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3FABE34-548C-4597-87D7-4FEBEC611A4F}"/>
              </a:ext>
            </a:extLst>
          </p:cNvPr>
          <p:cNvSpPr/>
          <p:nvPr/>
        </p:nvSpPr>
        <p:spPr bwMode="auto">
          <a:xfrm>
            <a:off x="269240" y="4719766"/>
            <a:ext cx="8770235" cy="371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 dirty="0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2366F9F-FEAA-4DA6-9158-07FDA4BC7137}"/>
              </a:ext>
            </a:extLst>
          </p:cNvPr>
          <p:cNvSpPr txBox="1"/>
          <p:nvPr/>
        </p:nvSpPr>
        <p:spPr>
          <a:xfrm>
            <a:off x="331154" y="4759099"/>
            <a:ext cx="37189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Input: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B72E581-9308-4A99-904B-BADB5D282FC4}"/>
              </a:ext>
            </a:extLst>
          </p:cNvPr>
          <p:cNvSpPr txBox="1"/>
          <p:nvPr/>
        </p:nvSpPr>
        <p:spPr>
          <a:xfrm>
            <a:off x="2893531" y="4779228"/>
            <a:ext cx="11866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 err="1">
                <a:solidFill>
                  <a:srgbClr val="FFFFFF"/>
                </a:solidFill>
                <a:latin typeface="Calibri"/>
              </a:rPr>
              <a:t>Results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 / Products: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896EF0F-A1AC-4B92-81EF-28EDBD757910}"/>
              </a:ext>
            </a:extLst>
          </p:cNvPr>
          <p:cNvSpPr txBox="1"/>
          <p:nvPr/>
        </p:nvSpPr>
        <p:spPr>
          <a:xfrm>
            <a:off x="6074856" y="4766410"/>
            <a:ext cx="141692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09585"/>
            <a:r>
              <a:rPr lang="de-DE" sz="1200" dirty="0">
                <a:solidFill>
                  <a:srgbClr val="FFFFFF"/>
                </a:solidFill>
                <a:latin typeface="Calibri"/>
              </a:rPr>
              <a:t>Impact / </a:t>
            </a:r>
            <a:r>
              <a:rPr lang="de-DE" sz="1200" dirty="0" err="1">
                <a:solidFill>
                  <a:srgbClr val="FFFFFF"/>
                </a:solidFill>
                <a:latin typeface="Calibri"/>
              </a:rPr>
              <a:t>Dependency</a:t>
            </a:r>
            <a:r>
              <a:rPr lang="de-DE" sz="1200" dirty="0">
                <a:solidFill>
                  <a:srgbClr val="FFFFFF"/>
                </a:solidFill>
                <a:latin typeface="Calibri"/>
              </a:rPr>
              <a:t>: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1AF46878-F4CD-4FC1-AB2E-FBA8EFAAEB72}"/>
              </a:ext>
            </a:extLst>
          </p:cNvPr>
          <p:cNvSpPr/>
          <p:nvPr/>
        </p:nvSpPr>
        <p:spPr bwMode="auto">
          <a:xfrm>
            <a:off x="269240" y="1597157"/>
            <a:ext cx="8770235" cy="4695694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2" tIns="45696" rIns="91392" bIns="45696" numCol="1" rtlCol="0" anchor="t" anchorCtr="0" compatLnSpc="1">
            <a:prstTxWarp prst="textNoShape">
              <a:avLst/>
            </a:prstTxWarp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4B4D3B"/>
              </a:solidFill>
              <a:latin typeface="ITC Officina Sans Book" pitchFamily="1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4E07F0E-EB83-4FE1-8813-52F95EC2AEFE}"/>
              </a:ext>
            </a:extLst>
          </p:cNvPr>
          <p:cNvSpPr txBox="1"/>
          <p:nvPr/>
        </p:nvSpPr>
        <p:spPr>
          <a:xfrm>
            <a:off x="6131675" y="2808458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349" indent="-171349" defTabSz="609585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4B4D3B"/>
                </a:solidFill>
                <a:latin typeface="Calibri"/>
              </a:rPr>
              <a:t>xx</a:t>
            </a:r>
          </a:p>
        </p:txBody>
      </p:sp>
      <p:sp>
        <p:nvSpPr>
          <p:cNvPr id="35" name="TextBox 1">
            <a:extLst>
              <a:ext uri="{FF2B5EF4-FFF2-40B4-BE49-F238E27FC236}">
                <a16:creationId xmlns:a16="http://schemas.microsoft.com/office/drawing/2014/main" id="{31F5A067-4D57-4E24-8124-7663C58037BA}"/>
              </a:ext>
            </a:extLst>
          </p:cNvPr>
          <p:cNvSpPr txBox="1"/>
          <p:nvPr/>
        </p:nvSpPr>
        <p:spPr>
          <a:xfrm rot="900000">
            <a:off x="9766362" y="492936"/>
            <a:ext cx="1673016" cy="6155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314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solidFill>
                  <a:srgbClr val="FF0000"/>
                </a:solidFill>
                <a:latin typeface="Segoe UI Semilight"/>
                <a:cs typeface="Segoe UI Semilight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57807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yOs5kHSE6lrukUjjTJ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mPwWth0.ywRXltmmn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ho1bzQU.P6zoZ81eW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tNTY_JTU6lTrASM9Uy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Nwxp5GxEmlnLHs44oG2A"/>
</p:tagLst>
</file>

<file path=ppt/theme/theme1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mmit-samples</Template>
  <TotalTime>0</TotalTime>
  <Words>231</Words>
  <Application>Microsoft Office PowerPoint</Application>
  <PresentationFormat>Breitbild</PresentationFormat>
  <Paragraphs>126</Paragraphs>
  <Slides>8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Calibri</vt:lpstr>
      <vt:lpstr>Consolas</vt:lpstr>
      <vt:lpstr>ITC Officina Sans Book</vt:lpstr>
      <vt:lpstr>Segoe UI Light</vt:lpstr>
      <vt:lpstr>Segoe UI Semilight</vt:lpstr>
      <vt:lpstr>Wingdings</vt:lpstr>
      <vt:lpstr>Judson Ready Template</vt:lpstr>
      <vt:lpstr>Azure – Customer Success Framework for Partner</vt:lpstr>
      <vt:lpstr>commitment on the goals </vt:lpstr>
      <vt:lpstr>Define a proof able target with the customer</vt:lpstr>
      <vt:lpstr>Define a statement of work (SoW)</vt:lpstr>
      <vt:lpstr>Objectives</vt:lpstr>
      <vt:lpstr>Conditions</vt:lpstr>
      <vt:lpstr>Work packages</vt:lpstr>
      <vt:lpstr>Work pack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– Customer Success Framework for Partner</dc:title>
  <dc:creator>Niels Ophey</dc:creator>
  <cp:lastModifiedBy>Niels Ophey</cp:lastModifiedBy>
  <cp:revision>4</cp:revision>
  <dcterms:created xsi:type="dcterms:W3CDTF">2019-06-20T13:29:20Z</dcterms:created>
  <dcterms:modified xsi:type="dcterms:W3CDTF">2019-06-20T13:51:59Z</dcterms:modified>
</cp:coreProperties>
</file>